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mp3" ContentType="audio/m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4" r:id="rId1"/>
    <p:sldMasterId id="2147483792" r:id="rId2"/>
    <p:sldMasterId id="2147483804" r:id="rId3"/>
    <p:sldMasterId id="2147483816" r:id="rId4"/>
  </p:sldMasterIdLst>
  <p:notesMasterIdLst>
    <p:notesMasterId r:id="rId72"/>
  </p:notesMasterIdLst>
  <p:sldIdLst>
    <p:sldId id="2134808265" r:id="rId5"/>
    <p:sldId id="2134808281" r:id="rId6"/>
    <p:sldId id="2134808266" r:id="rId7"/>
    <p:sldId id="2134808267" r:id="rId8"/>
    <p:sldId id="2134808443" r:id="rId9"/>
    <p:sldId id="2134808284" r:id="rId10"/>
    <p:sldId id="2134808438" r:id="rId11"/>
    <p:sldId id="2134808268" r:id="rId12"/>
    <p:sldId id="2134806282" r:id="rId13"/>
    <p:sldId id="2134808270" r:id="rId14"/>
    <p:sldId id="2147482340" r:id="rId15"/>
    <p:sldId id="2147482353" r:id="rId16"/>
    <p:sldId id="2134808273" r:id="rId17"/>
    <p:sldId id="2134808929" r:id="rId18"/>
    <p:sldId id="2147482354" r:id="rId19"/>
    <p:sldId id="2134808870" r:id="rId20"/>
    <p:sldId id="2134808951" r:id="rId21"/>
    <p:sldId id="2134808846" r:id="rId22"/>
    <p:sldId id="2134808882" r:id="rId23"/>
    <p:sldId id="2147482363" r:id="rId24"/>
    <p:sldId id="2134808214" r:id="rId25"/>
    <p:sldId id="2147482362" r:id="rId26"/>
    <p:sldId id="2134808495" r:id="rId27"/>
    <p:sldId id="2134808949" r:id="rId28"/>
    <p:sldId id="2147482359" r:id="rId29"/>
    <p:sldId id="2134808933" r:id="rId30"/>
    <p:sldId id="2147482360" r:id="rId31"/>
    <p:sldId id="2134808935" r:id="rId32"/>
    <p:sldId id="2147482361" r:id="rId33"/>
    <p:sldId id="2134808862" r:id="rId34"/>
    <p:sldId id="2134808615" r:id="rId35"/>
    <p:sldId id="2134808617" r:id="rId36"/>
    <p:sldId id="2134808619" r:id="rId37"/>
    <p:sldId id="2147482352" r:id="rId38"/>
    <p:sldId id="2134808857" r:id="rId39"/>
    <p:sldId id="2134808858" r:id="rId40"/>
    <p:sldId id="2134806998" r:id="rId41"/>
    <p:sldId id="2134806999" r:id="rId42"/>
    <p:sldId id="2134808859" r:id="rId43"/>
    <p:sldId id="2134807003" r:id="rId44"/>
    <p:sldId id="2134808910" r:id="rId45"/>
    <p:sldId id="2147482343" r:id="rId46"/>
    <p:sldId id="2134807011" r:id="rId47"/>
    <p:sldId id="2134808293" r:id="rId48"/>
    <p:sldId id="2134808294" r:id="rId49"/>
    <p:sldId id="2134808292" r:id="rId50"/>
    <p:sldId id="2134808295" r:id="rId51"/>
    <p:sldId id="2147482344" r:id="rId52"/>
    <p:sldId id="2147482345" r:id="rId53"/>
    <p:sldId id="2147482346" r:id="rId54"/>
    <p:sldId id="2147482347" r:id="rId55"/>
    <p:sldId id="2134805537" r:id="rId56"/>
    <p:sldId id="2147482349" r:id="rId57"/>
    <p:sldId id="2147482348" r:id="rId58"/>
    <p:sldId id="2134808467" r:id="rId59"/>
    <p:sldId id="2134806115" r:id="rId60"/>
    <p:sldId id="2134808299" r:id="rId61"/>
    <p:sldId id="2134807367" r:id="rId62"/>
    <p:sldId id="2134807368" r:id="rId63"/>
    <p:sldId id="2134807369" r:id="rId64"/>
    <p:sldId id="2134807370" r:id="rId65"/>
    <p:sldId id="2134808928" r:id="rId66"/>
    <p:sldId id="2134807372" r:id="rId67"/>
    <p:sldId id="2134808805" r:id="rId68"/>
    <p:sldId id="2134808775" r:id="rId69"/>
    <p:sldId id="2134808474" r:id="rId70"/>
    <p:sldId id="2147482339" r:id="rId71"/>
  </p:sldIdLst>
  <p:sldSz cx="13716000" cy="10287000"/>
  <p:notesSz cx="6858000" cy="9144000"/>
  <p:embeddedFontLst>
    <p:embeddedFont>
      <p:font typeface="Cambria" panose="02040503050406030204" pitchFamily="18" charset="0"/>
      <p:regular r:id="rId73"/>
      <p:bold r:id="rId74"/>
      <p:italic r:id="rId75"/>
      <p:boldItalic r:id="rId76"/>
    </p:embeddedFont>
    <p:embeddedFont>
      <p:font typeface="Carelia" panose="020B0604020202020204" charset="0"/>
      <p:regular r:id="rId77"/>
    </p:embeddedFont>
    <p:embeddedFont>
      <p:font typeface="Dosis" pitchFamily="2" charset="0"/>
      <p:regular r:id="rId78"/>
      <p:bold r:id="rId79"/>
    </p:embeddedFont>
    <p:embeddedFont>
      <p:font typeface="Dosis Bold" charset="0"/>
      <p:regular r:id="rId80"/>
      <p:bold r:id="rId81"/>
    </p:embeddedFont>
    <p:embeddedFont>
      <p:font typeface="Dosis Medium" pitchFamily="2" charset="0"/>
      <p:regular r:id="rId82"/>
    </p:embeddedFont>
    <p:embeddedFont>
      <p:font typeface="KG Primary Penmanship 2" panose="020B0604020202020204" charset="0"/>
      <p:regular r:id="rId83"/>
    </p:embeddedFont>
    <p:embeddedFont>
      <p:font typeface="KG Primary Penmanship Alt" panose="020B0604020202020204" charset="0"/>
      <p:regular r:id="rId84"/>
    </p:embeddedFont>
    <p:embeddedFont>
      <p:font typeface="Montserrat" panose="00000500000000000000" pitchFamily="2" charset="0"/>
      <p:regular r:id="rId85"/>
      <p:bold r:id="rId86"/>
      <p:italic r:id="rId87"/>
      <p:boldItalic r:id="rId88"/>
    </p:embeddedFont>
    <p:embeddedFont>
      <p:font typeface="Traditional Arabic" panose="02020603050405020304" pitchFamily="18" charset="-78"/>
      <p:regular r:id="rId89"/>
      <p:bold r:id="rId90"/>
    </p:embeddedFont>
  </p:embeddedFontLst>
  <p:defaultTextStyle>
    <a:defPPr>
      <a:defRPr lang="fr-FR"/>
    </a:defPPr>
    <a:lvl1pPr marL="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 pos="4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803F"/>
    <a:srgbClr val="F2F2F2"/>
    <a:srgbClr val="7F7F7F"/>
    <a:srgbClr val="106584"/>
    <a:srgbClr val="FDEADA"/>
    <a:srgbClr val="FFFFFF"/>
    <a:srgbClr val="F7F1BD"/>
    <a:srgbClr val="106585"/>
    <a:srgbClr val="426C7C"/>
    <a:srgbClr val="E46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272" autoAdjust="0"/>
    <p:restoredTop sz="95196" autoAdjust="0"/>
  </p:normalViewPr>
  <p:slideViewPr>
    <p:cSldViewPr snapToGrid="0">
      <p:cViewPr varScale="1">
        <p:scale>
          <a:sx n="55" d="100"/>
          <a:sy n="55" d="100"/>
        </p:scale>
        <p:origin x="1238" y="53"/>
      </p:cViewPr>
      <p:guideLst>
        <p:guide orient="horz" pos="3240"/>
        <p:guide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font" Target="fonts/font12.fntdata"/><Relationship Id="rId89" Type="http://schemas.openxmlformats.org/officeDocument/2006/relationships/font" Target="fonts/font17.fntdata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font" Target="fonts/font2.fntdata"/><Relationship Id="rId79" Type="http://schemas.openxmlformats.org/officeDocument/2006/relationships/font" Target="fonts/font7.fntdata"/><Relationship Id="rId5" Type="http://schemas.openxmlformats.org/officeDocument/2006/relationships/slide" Target="slides/slide1.xml"/><Relationship Id="rId90" Type="http://schemas.openxmlformats.org/officeDocument/2006/relationships/font" Target="fonts/font18.fntdata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notesMaster" Target="notesMasters/notesMaster1.xml"/><Relationship Id="rId80" Type="http://schemas.openxmlformats.org/officeDocument/2006/relationships/font" Target="fonts/font8.fntdata"/><Relationship Id="rId85" Type="http://schemas.openxmlformats.org/officeDocument/2006/relationships/font" Target="fonts/font13.fntdata"/><Relationship Id="rId9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font" Target="fonts/font3.fntdata"/><Relationship Id="rId83" Type="http://schemas.openxmlformats.org/officeDocument/2006/relationships/font" Target="fonts/font11.fntdata"/><Relationship Id="rId88" Type="http://schemas.openxmlformats.org/officeDocument/2006/relationships/font" Target="fonts/font16.fntdata"/><Relationship Id="rId9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font" Target="fonts/font1.fntdata"/><Relationship Id="rId78" Type="http://schemas.openxmlformats.org/officeDocument/2006/relationships/font" Target="fonts/font6.fntdata"/><Relationship Id="rId81" Type="http://schemas.openxmlformats.org/officeDocument/2006/relationships/font" Target="fonts/font9.fntdata"/><Relationship Id="rId86" Type="http://schemas.openxmlformats.org/officeDocument/2006/relationships/font" Target="fonts/font14.fntdata"/><Relationship Id="rId9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font" Target="fonts/font4.fntdata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font" Target="fonts/font15.fntdata"/><Relationship Id="rId61" Type="http://schemas.openxmlformats.org/officeDocument/2006/relationships/slide" Target="slides/slide57.xml"/><Relationship Id="rId82" Type="http://schemas.openxmlformats.org/officeDocument/2006/relationships/font" Target="fonts/font10.fntdata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font" Target="fonts/font5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BA23E8-4B26-4847-82AA-716B989AA6C3}" type="datetimeFigureOut">
              <a:rPr lang="fr-FR" smtClean="0"/>
              <a:t>20/07/2025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F29E1B-11DA-4B7D-8F83-C5BDF1FFE556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77191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>
          <a:extLst>
            <a:ext uri="{FF2B5EF4-FFF2-40B4-BE49-F238E27FC236}">
              <a16:creationId xmlns:a16="http://schemas.microsoft.com/office/drawing/2014/main" id="{64BA5DBC-630B-6D2B-86EF-B2541E791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21c9da5e15f_2_12:notes">
            <a:extLst>
              <a:ext uri="{FF2B5EF4-FFF2-40B4-BE49-F238E27FC236}">
                <a16:creationId xmlns:a16="http://schemas.microsoft.com/office/drawing/2014/main" id="{1C01961B-CCB2-14C6-E970-85FA2E43BF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815975" y="860425"/>
            <a:ext cx="5726113" cy="42941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6" name="Google Shape;66;g21c9da5e15f_2_12:notes">
            <a:extLst>
              <a:ext uri="{FF2B5EF4-FFF2-40B4-BE49-F238E27FC236}">
                <a16:creationId xmlns:a16="http://schemas.microsoft.com/office/drawing/2014/main" id="{92AAF120-4EAE-105C-0096-6AB849D218A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35898" y="5441279"/>
            <a:ext cx="5887174" cy="5154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4700" tIns="104700" rIns="104700" bIns="104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</a:pPr>
            <a:endParaRPr sz="1300"/>
          </a:p>
        </p:txBody>
      </p:sp>
    </p:spTree>
    <p:extLst>
      <p:ext uri="{BB962C8B-B14F-4D97-AF65-F5344CB8AC3E}">
        <p14:creationId xmlns:p14="http://schemas.microsoft.com/office/powerpoint/2010/main" val="2356862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341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560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559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9970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7548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6" y="4406906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6" y="2906716"/>
            <a:ext cx="5829300" cy="1500188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1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2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3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4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5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6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743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466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3" y="1535114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3" y="2174876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3" y="1535114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3" y="2174876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541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3610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8727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4" y="273050"/>
            <a:ext cx="2256236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91" y="273056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4" y="1435106"/>
            <a:ext cx="2256236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159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9824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1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6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9" indent="0">
              <a:buNone/>
              <a:defRPr sz="2100"/>
            </a:lvl2pPr>
            <a:lvl3pPr marL="685818" indent="0">
              <a:buNone/>
              <a:defRPr sz="1800"/>
            </a:lvl3pPr>
            <a:lvl4pPr marL="1028727" indent="0">
              <a:buNone/>
              <a:defRPr sz="1500"/>
            </a:lvl4pPr>
            <a:lvl5pPr marL="1371635" indent="0">
              <a:buNone/>
              <a:defRPr sz="1500"/>
            </a:lvl5pPr>
            <a:lvl6pPr marL="1714542" indent="0">
              <a:buNone/>
              <a:defRPr sz="1500"/>
            </a:lvl6pPr>
            <a:lvl7pPr marL="2057451" indent="0">
              <a:buNone/>
              <a:defRPr sz="1500"/>
            </a:lvl7pPr>
            <a:lvl8pPr marL="2400360" indent="0">
              <a:buNone/>
              <a:defRPr sz="1500"/>
            </a:lvl8pPr>
            <a:lvl9pPr marL="2743269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05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2105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5"/>
            <a:ext cx="1543050" cy="585152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5"/>
            <a:ext cx="4514850" cy="585152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3790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7037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3935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9416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334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3286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057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535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216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2946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956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0995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5471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2708687" y="9326435"/>
            <a:ext cx="823050" cy="7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044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646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187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4171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124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693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98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4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7"/>
            <a:ext cx="6172200" cy="45259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6"/>
            <a:ext cx="21717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952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xStyles>
    <p:titleStyle>
      <a:lvl1pPr algn="ctr" defTabSz="685818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81" indent="-257181" algn="l" defTabSz="68581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228" indent="-214319" algn="l" defTabSz="685818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71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80" indent="-171455" algn="l" defTabSz="685818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89" indent="-171455" algn="l" defTabSz="685818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98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7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5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2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8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7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5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2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1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038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D89FE3-F3AE-30C7-104E-DEBD5707B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0759098"/>
              </p:ext>
            </p:extLst>
          </p:nvPr>
        </p:nvGraphicFramePr>
        <p:xfrm>
          <a:off x="1786" y="2382"/>
          <a:ext cx="1787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89FE3-F3AE-30C7-104E-DEBD5707B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86" y="2382"/>
                        <a:ext cx="1787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467550" y="890051"/>
            <a:ext cx="12780900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467550" y="2304950"/>
            <a:ext cx="12780900" cy="683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rmAutofit/>
          </a:bodyPr>
          <a:lstStyle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/>
          <p:nvPr/>
        </p:nvSpPr>
        <p:spPr>
          <a:xfrm>
            <a:off x="5531922" y="9838709"/>
            <a:ext cx="2652156" cy="227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fr" sz="1200" b="0" i="0" u="none" strike="noStrike" cap="none">
                <a:solidFill>
                  <a:srgbClr val="0563C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N°›</a:t>
            </a:fld>
            <a:endParaRPr sz="1200" b="0" i="0" u="none" strike="noStrike" cap="none">
              <a:solidFill>
                <a:srgbClr val="0563C1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pic>
        <p:nvPicPr>
          <p:cNvPr id="54" name="Google Shape;54;p13" descr="Résultat de recherche d'images pour &quot;logo royaume du maroc&quot;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2645044" y="276097"/>
            <a:ext cx="602585" cy="8765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3"/>
          <p:cNvSpPr txBox="1"/>
          <p:nvPr/>
        </p:nvSpPr>
        <p:spPr>
          <a:xfrm>
            <a:off x="0" y="9858167"/>
            <a:ext cx="3583800" cy="3000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38" tIns="68550" rIns="137138" bIns="6855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" sz="1050" b="1" i="1" u="none" strike="noStrike" cap="none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Document confidentiel pour usage interne</a:t>
            </a:r>
            <a:endParaRPr sz="1800" b="1" i="1" u="none" strike="noStrike" cap="none">
              <a:solidFill>
                <a:srgbClr val="C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005918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17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9.svg"/><Relationship Id="rId3" Type="http://schemas.openxmlformats.org/officeDocument/2006/relationships/tags" Target="../tags/tag4.xml"/><Relationship Id="rId21" Type="http://schemas.openxmlformats.org/officeDocument/2006/relationships/image" Target="../media/image12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8.png"/><Relationship Id="rId2" Type="http://schemas.openxmlformats.org/officeDocument/2006/relationships/tags" Target="../tags/tag3.xml"/><Relationship Id="rId16" Type="http://schemas.openxmlformats.org/officeDocument/2006/relationships/image" Target="../media/image7.svg"/><Relationship Id="rId20" Type="http://schemas.openxmlformats.org/officeDocument/2006/relationships/image" Target="../media/image11.sv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6.png"/><Relationship Id="rId10" Type="http://schemas.openxmlformats.org/officeDocument/2006/relationships/tags" Target="../tags/tag11.xml"/><Relationship Id="rId19" Type="http://schemas.openxmlformats.org/officeDocument/2006/relationships/image" Target="../media/image10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5.xml"/><Relationship Id="rId7" Type="http://schemas.openxmlformats.org/officeDocument/2006/relationships/image" Target="../media/image5.jpe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07.xml"/><Relationship Id="rId10" Type="http://schemas.openxmlformats.org/officeDocument/2006/relationships/image" Target="../media/image8.png"/><Relationship Id="rId4" Type="http://schemas.openxmlformats.org/officeDocument/2006/relationships/tags" Target="../tags/tag106.xml"/><Relationship Id="rId9" Type="http://schemas.openxmlformats.org/officeDocument/2006/relationships/image" Target="../media/image7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10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image" Target="../media/image36.png"/><Relationship Id="rId5" Type="http://schemas.openxmlformats.org/officeDocument/2006/relationships/tags" Target="../tags/tag112.xml"/><Relationship Id="rId10" Type="http://schemas.openxmlformats.org/officeDocument/2006/relationships/image" Target="../media/image16.svg"/><Relationship Id="rId4" Type="http://schemas.openxmlformats.org/officeDocument/2006/relationships/tags" Target="../tags/tag111.xml"/><Relationship Id="rId9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image" Target="../media/image16.svg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image" Target="../media/image15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image" Target="../media/image5.jpeg"/><Relationship Id="rId5" Type="http://schemas.openxmlformats.org/officeDocument/2006/relationships/tags" Target="../tags/tag118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17.xml"/><Relationship Id="rId9" Type="http://schemas.openxmlformats.org/officeDocument/2006/relationships/tags" Target="../tags/tag12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5.xml"/><Relationship Id="rId7" Type="http://schemas.openxmlformats.org/officeDocument/2006/relationships/image" Target="../media/image5.jpe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27.xml"/><Relationship Id="rId10" Type="http://schemas.openxmlformats.org/officeDocument/2006/relationships/image" Target="../media/image8.png"/><Relationship Id="rId4" Type="http://schemas.openxmlformats.org/officeDocument/2006/relationships/tags" Target="../tags/tag126.xml"/><Relationship Id="rId9" Type="http://schemas.openxmlformats.org/officeDocument/2006/relationships/image" Target="../media/image7.sv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26" Type="http://schemas.openxmlformats.org/officeDocument/2006/relationships/tags" Target="../tags/tag153.xml"/><Relationship Id="rId3" Type="http://schemas.openxmlformats.org/officeDocument/2006/relationships/tags" Target="../tags/tag130.xml"/><Relationship Id="rId21" Type="http://schemas.openxmlformats.org/officeDocument/2006/relationships/tags" Target="../tags/tag148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5" Type="http://schemas.openxmlformats.org/officeDocument/2006/relationships/tags" Target="../tags/tag152.xml"/><Relationship Id="rId33" Type="http://schemas.openxmlformats.org/officeDocument/2006/relationships/image" Target="../media/image16.svg"/><Relationship Id="rId2" Type="http://schemas.openxmlformats.org/officeDocument/2006/relationships/tags" Target="../tags/tag129.xml"/><Relationship Id="rId16" Type="http://schemas.openxmlformats.org/officeDocument/2006/relationships/tags" Target="../tags/tag143.xml"/><Relationship Id="rId20" Type="http://schemas.openxmlformats.org/officeDocument/2006/relationships/tags" Target="../tags/tag147.xml"/><Relationship Id="rId29" Type="http://schemas.openxmlformats.org/officeDocument/2006/relationships/tags" Target="../tags/tag156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24" Type="http://schemas.openxmlformats.org/officeDocument/2006/relationships/tags" Target="../tags/tag151.xml"/><Relationship Id="rId32" Type="http://schemas.openxmlformats.org/officeDocument/2006/relationships/image" Target="../media/image15.png"/><Relationship Id="rId5" Type="http://schemas.openxmlformats.org/officeDocument/2006/relationships/tags" Target="../tags/tag132.xml"/><Relationship Id="rId15" Type="http://schemas.openxmlformats.org/officeDocument/2006/relationships/tags" Target="../tags/tag142.xml"/><Relationship Id="rId23" Type="http://schemas.openxmlformats.org/officeDocument/2006/relationships/tags" Target="../tags/tag150.xml"/><Relationship Id="rId28" Type="http://schemas.openxmlformats.org/officeDocument/2006/relationships/tags" Target="../tags/tag155.xml"/><Relationship Id="rId10" Type="http://schemas.openxmlformats.org/officeDocument/2006/relationships/tags" Target="../tags/tag137.xml"/><Relationship Id="rId19" Type="http://schemas.openxmlformats.org/officeDocument/2006/relationships/tags" Target="../tags/tag146.xml"/><Relationship Id="rId31" Type="http://schemas.openxmlformats.org/officeDocument/2006/relationships/image" Target="../media/image5.jpeg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tags" Target="../tags/tag141.xml"/><Relationship Id="rId22" Type="http://schemas.openxmlformats.org/officeDocument/2006/relationships/tags" Target="../tags/tag149.xml"/><Relationship Id="rId27" Type="http://schemas.openxmlformats.org/officeDocument/2006/relationships/tags" Target="../tags/tag154.xml"/><Relationship Id="rId30" Type="http://schemas.openxmlformats.org/officeDocument/2006/relationships/slideLayout" Target="../slideLayouts/slideLayout7.xml"/><Relationship Id="rId8" Type="http://schemas.openxmlformats.org/officeDocument/2006/relationships/tags" Target="../tags/tag13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59.xml"/><Relationship Id="rId7" Type="http://schemas.openxmlformats.org/officeDocument/2006/relationships/image" Target="../media/image5.jpeg"/><Relationship Id="rId12" Type="http://schemas.openxmlformats.org/officeDocument/2006/relationships/image" Target="../media/image39.png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38.png"/><Relationship Id="rId5" Type="http://schemas.openxmlformats.org/officeDocument/2006/relationships/tags" Target="../tags/tag161.xml"/><Relationship Id="rId10" Type="http://schemas.openxmlformats.org/officeDocument/2006/relationships/image" Target="../media/image37.png"/><Relationship Id="rId4" Type="http://schemas.openxmlformats.org/officeDocument/2006/relationships/tags" Target="../tags/tag160.xml"/><Relationship Id="rId9" Type="http://schemas.openxmlformats.org/officeDocument/2006/relationships/image" Target="../media/image16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16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9.svg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11" Type="http://schemas.openxmlformats.org/officeDocument/2006/relationships/image" Target="../media/image40.png"/><Relationship Id="rId5" Type="http://schemas.openxmlformats.org/officeDocument/2006/relationships/tags" Target="../tags/tag166.xml"/><Relationship Id="rId10" Type="http://schemas.openxmlformats.org/officeDocument/2006/relationships/image" Target="../media/image7.svg"/><Relationship Id="rId4" Type="http://schemas.openxmlformats.org/officeDocument/2006/relationships/tags" Target="../tags/tag165.xml"/><Relationship Id="rId9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13" Type="http://schemas.openxmlformats.org/officeDocument/2006/relationships/image" Target="../media/image5.jpeg"/><Relationship Id="rId18" Type="http://schemas.openxmlformats.org/officeDocument/2006/relationships/image" Target="../media/image43.png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12" Type="http://schemas.openxmlformats.org/officeDocument/2006/relationships/slideLayout" Target="../slideLayouts/slideLayout18.xml"/><Relationship Id="rId17" Type="http://schemas.openxmlformats.org/officeDocument/2006/relationships/image" Target="../media/image42.svg"/><Relationship Id="rId2" Type="http://schemas.openxmlformats.org/officeDocument/2006/relationships/tags" Target="../tags/tag169.xml"/><Relationship Id="rId16" Type="http://schemas.openxmlformats.org/officeDocument/2006/relationships/image" Target="../media/image41.png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11" Type="http://schemas.openxmlformats.org/officeDocument/2006/relationships/tags" Target="../tags/tag178.xml"/><Relationship Id="rId5" Type="http://schemas.openxmlformats.org/officeDocument/2006/relationships/tags" Target="../tags/tag172.xml"/><Relationship Id="rId15" Type="http://schemas.openxmlformats.org/officeDocument/2006/relationships/image" Target="../media/image29.svg"/><Relationship Id="rId10" Type="http://schemas.openxmlformats.org/officeDocument/2006/relationships/tags" Target="../tags/tag177.xml"/><Relationship Id="rId4" Type="http://schemas.openxmlformats.org/officeDocument/2006/relationships/tags" Target="../tags/tag171.xml"/><Relationship Id="rId9" Type="http://schemas.openxmlformats.org/officeDocument/2006/relationships/tags" Target="../tags/tag176.xml"/><Relationship Id="rId1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13" Type="http://schemas.openxmlformats.org/officeDocument/2006/relationships/image" Target="../media/image44.png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12" Type="http://schemas.openxmlformats.org/officeDocument/2006/relationships/image" Target="../media/image19.svg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11" Type="http://schemas.openxmlformats.org/officeDocument/2006/relationships/image" Target="../media/image18.png"/><Relationship Id="rId5" Type="http://schemas.openxmlformats.org/officeDocument/2006/relationships/tags" Target="../tags/tag183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82.xml"/><Relationship Id="rId9" Type="http://schemas.openxmlformats.org/officeDocument/2006/relationships/tags" Target="../tags/tag18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90.xml"/><Relationship Id="rId7" Type="http://schemas.openxmlformats.org/officeDocument/2006/relationships/image" Target="../media/image19.svg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9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8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7.svg"/><Relationship Id="rId2" Type="http://schemas.openxmlformats.org/officeDocument/2006/relationships/tags" Target="../tags/tag15.xml"/><Relationship Id="rId16" Type="http://schemas.openxmlformats.org/officeDocument/2006/relationships/image" Target="../media/image14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6.png"/><Relationship Id="rId5" Type="http://schemas.openxmlformats.org/officeDocument/2006/relationships/tags" Target="../tags/tag18.xml"/><Relationship Id="rId15" Type="http://schemas.openxmlformats.org/officeDocument/2006/relationships/image" Target="../media/image13.png"/><Relationship Id="rId10" Type="http://schemas.openxmlformats.org/officeDocument/2006/relationships/image" Target="../media/image5.jpeg"/><Relationship Id="rId4" Type="http://schemas.openxmlformats.org/officeDocument/2006/relationships/tags" Target="../tags/tag17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9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194.xml"/><Relationship Id="rId7" Type="http://schemas.openxmlformats.org/officeDocument/2006/relationships/image" Target="../media/image19.sv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9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tags" Target="../tags/tag198.xml"/><Relationship Id="rId7" Type="http://schemas.openxmlformats.org/officeDocument/2006/relationships/image" Target="../media/image19.svg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9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video" Target="NULL" TargetMode="External"/><Relationship Id="rId7" Type="http://schemas.openxmlformats.org/officeDocument/2006/relationships/image" Target="../media/image18.png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02.xml"/><Relationship Id="rId4" Type="http://schemas.microsoft.com/office/2007/relationships/media" Target="../media/media1.mp4"/><Relationship Id="rId9" Type="http://schemas.openxmlformats.org/officeDocument/2006/relationships/image" Target="../media/image4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05.xml"/><Relationship Id="rId7" Type="http://schemas.openxmlformats.org/officeDocument/2006/relationships/image" Target="../media/image19.svg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48.png"/><Relationship Id="rId4" Type="http://schemas.openxmlformats.org/officeDocument/2006/relationships/tags" Target="../tags/tag206.xml"/><Relationship Id="rId9" Type="http://schemas.openxmlformats.org/officeDocument/2006/relationships/image" Target="../media/image4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209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tags" Target="../tags/tag212.xml"/><Relationship Id="rId11" Type="http://schemas.openxmlformats.org/officeDocument/2006/relationships/image" Target="../media/image8.png"/><Relationship Id="rId5" Type="http://schemas.openxmlformats.org/officeDocument/2006/relationships/tags" Target="../tags/tag211.xml"/><Relationship Id="rId10" Type="http://schemas.openxmlformats.org/officeDocument/2006/relationships/image" Target="../media/image7.svg"/><Relationship Id="rId4" Type="http://schemas.openxmlformats.org/officeDocument/2006/relationships/tags" Target="../tags/tag210.xml"/><Relationship Id="rId9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2.svg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41.png"/><Relationship Id="rId2" Type="http://schemas.openxmlformats.org/officeDocument/2006/relationships/tags" Target="../tags/tag214.xml"/><Relationship Id="rId16" Type="http://schemas.openxmlformats.org/officeDocument/2006/relationships/image" Target="../media/image29.svg"/><Relationship Id="rId1" Type="http://schemas.openxmlformats.org/officeDocument/2006/relationships/tags" Target="../tags/tag213.x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image" Target="../media/image15.png"/><Relationship Id="rId10" Type="http://schemas.openxmlformats.org/officeDocument/2006/relationships/tags" Target="../tags/tag222.xml"/><Relationship Id="rId19" Type="http://schemas.openxmlformats.org/officeDocument/2006/relationships/image" Target="../media/image43.png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image" Target="../media/image5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32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51.png"/><Relationship Id="rId3" Type="http://schemas.openxmlformats.org/officeDocument/2006/relationships/tags" Target="../tags/tag227.xml"/><Relationship Id="rId7" Type="http://schemas.openxmlformats.org/officeDocument/2006/relationships/tags" Target="../tags/tag231.xml"/><Relationship Id="rId12" Type="http://schemas.openxmlformats.org/officeDocument/2006/relationships/tags" Target="../tags/tag236.xml"/><Relationship Id="rId17" Type="http://schemas.openxmlformats.org/officeDocument/2006/relationships/image" Target="../media/image50.PNG"/><Relationship Id="rId2" Type="http://schemas.openxmlformats.org/officeDocument/2006/relationships/tags" Target="../tags/tag226.xml"/><Relationship Id="rId16" Type="http://schemas.openxmlformats.org/officeDocument/2006/relationships/image" Target="../media/image49.png"/><Relationship Id="rId1" Type="http://schemas.openxmlformats.org/officeDocument/2006/relationships/tags" Target="../tags/tag225.xml"/><Relationship Id="rId6" Type="http://schemas.openxmlformats.org/officeDocument/2006/relationships/tags" Target="../tags/tag230.xml"/><Relationship Id="rId11" Type="http://schemas.openxmlformats.org/officeDocument/2006/relationships/tags" Target="../tags/tag235.xml"/><Relationship Id="rId5" Type="http://schemas.openxmlformats.org/officeDocument/2006/relationships/tags" Target="../tags/tag229.xml"/><Relationship Id="rId15" Type="http://schemas.openxmlformats.org/officeDocument/2006/relationships/image" Target="../media/image19.svg"/><Relationship Id="rId10" Type="http://schemas.openxmlformats.org/officeDocument/2006/relationships/tags" Target="../tags/tag234.xml"/><Relationship Id="rId4" Type="http://schemas.openxmlformats.org/officeDocument/2006/relationships/tags" Target="../tags/tag228.xml"/><Relationship Id="rId9" Type="http://schemas.openxmlformats.org/officeDocument/2006/relationships/tags" Target="../tags/tag233.xml"/><Relationship Id="rId14" Type="http://schemas.openxmlformats.org/officeDocument/2006/relationships/image" Target="../media/image18.png"/></Relationships>
</file>

<file path=ppt/slides/_rels/slide27.xml.rels><?xml version="1.0" encoding="UTF-8" standalone="yes"?>
<Relationships xmlns="http://schemas.openxmlformats.org/package/2006/relationships"><Relationship Id="rId8" Type="http://schemas.microsoft.com/office/2007/relationships/media" Target="../media/media2.wav"/><Relationship Id="rId13" Type="http://schemas.openxmlformats.org/officeDocument/2006/relationships/tags" Target="../tags/tag247.xml"/><Relationship Id="rId18" Type="http://schemas.openxmlformats.org/officeDocument/2006/relationships/image" Target="../media/image51.png"/><Relationship Id="rId3" Type="http://schemas.openxmlformats.org/officeDocument/2006/relationships/tags" Target="../tags/tag239.xml"/><Relationship Id="rId7" Type="http://schemas.openxmlformats.org/officeDocument/2006/relationships/tags" Target="../tags/tag243.xml"/><Relationship Id="rId12" Type="http://schemas.openxmlformats.org/officeDocument/2006/relationships/tags" Target="../tags/tag246.xml"/><Relationship Id="rId17" Type="http://schemas.openxmlformats.org/officeDocument/2006/relationships/image" Target="../media/image50.PNG"/><Relationship Id="rId2" Type="http://schemas.openxmlformats.org/officeDocument/2006/relationships/tags" Target="../tags/tag238.xml"/><Relationship Id="rId16" Type="http://schemas.openxmlformats.org/officeDocument/2006/relationships/image" Target="../media/image49.png"/><Relationship Id="rId1" Type="http://schemas.openxmlformats.org/officeDocument/2006/relationships/tags" Target="../tags/tag237.xml"/><Relationship Id="rId6" Type="http://schemas.openxmlformats.org/officeDocument/2006/relationships/tags" Target="../tags/tag242.xml"/><Relationship Id="rId11" Type="http://schemas.openxmlformats.org/officeDocument/2006/relationships/tags" Target="../tags/tag245.xml"/><Relationship Id="rId5" Type="http://schemas.openxmlformats.org/officeDocument/2006/relationships/tags" Target="../tags/tag241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244.xml"/><Relationship Id="rId19" Type="http://schemas.openxmlformats.org/officeDocument/2006/relationships/image" Target="../media/image52.png"/><Relationship Id="rId4" Type="http://schemas.openxmlformats.org/officeDocument/2006/relationships/tags" Target="../tags/tag240.xml"/><Relationship Id="rId9" Type="http://schemas.openxmlformats.org/officeDocument/2006/relationships/audio" Target="../media/media2.wav"/><Relationship Id="rId14" Type="http://schemas.openxmlformats.org/officeDocument/2006/relationships/tags" Target="../tags/tag24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56.xml"/><Relationship Id="rId13" Type="http://schemas.openxmlformats.org/officeDocument/2006/relationships/image" Target="../media/image19.svg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12" Type="http://schemas.openxmlformats.org/officeDocument/2006/relationships/image" Target="../media/image18.png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53.xml"/><Relationship Id="rId10" Type="http://schemas.openxmlformats.org/officeDocument/2006/relationships/tags" Target="../tags/tag258.xml"/><Relationship Id="rId4" Type="http://schemas.openxmlformats.org/officeDocument/2006/relationships/tags" Target="../tags/tag252.xml"/><Relationship Id="rId9" Type="http://schemas.openxmlformats.org/officeDocument/2006/relationships/tags" Target="../tags/tag257.xml"/><Relationship Id="rId14" Type="http://schemas.openxmlformats.org/officeDocument/2006/relationships/image" Target="../media/image53.jpeg"/></Relationships>
</file>

<file path=ppt/slides/_rels/slide29.xml.rels><?xml version="1.0" encoding="UTF-8" standalone="yes"?>
<Relationships xmlns="http://schemas.openxmlformats.org/package/2006/relationships"><Relationship Id="rId8" Type="http://schemas.microsoft.com/office/2007/relationships/media" Target="../media/media2.wav"/><Relationship Id="rId13" Type="http://schemas.openxmlformats.org/officeDocument/2006/relationships/tags" Target="../tags/tag269.xml"/><Relationship Id="rId18" Type="http://schemas.openxmlformats.org/officeDocument/2006/relationships/image" Target="../media/image51.png"/><Relationship Id="rId3" Type="http://schemas.openxmlformats.org/officeDocument/2006/relationships/tags" Target="../tags/tag261.xml"/><Relationship Id="rId7" Type="http://schemas.openxmlformats.org/officeDocument/2006/relationships/tags" Target="../tags/tag265.xml"/><Relationship Id="rId12" Type="http://schemas.openxmlformats.org/officeDocument/2006/relationships/tags" Target="../tags/tag268.xml"/><Relationship Id="rId17" Type="http://schemas.openxmlformats.org/officeDocument/2006/relationships/image" Target="../media/image50.PNG"/><Relationship Id="rId2" Type="http://schemas.openxmlformats.org/officeDocument/2006/relationships/tags" Target="../tags/tag260.xml"/><Relationship Id="rId16" Type="http://schemas.openxmlformats.org/officeDocument/2006/relationships/image" Target="../media/image49.png"/><Relationship Id="rId1" Type="http://schemas.openxmlformats.org/officeDocument/2006/relationships/tags" Target="../tags/tag259.xml"/><Relationship Id="rId6" Type="http://schemas.openxmlformats.org/officeDocument/2006/relationships/tags" Target="../tags/tag264.xml"/><Relationship Id="rId11" Type="http://schemas.openxmlformats.org/officeDocument/2006/relationships/tags" Target="../tags/tag267.xml"/><Relationship Id="rId5" Type="http://schemas.openxmlformats.org/officeDocument/2006/relationships/tags" Target="../tags/tag263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266.xml"/><Relationship Id="rId19" Type="http://schemas.openxmlformats.org/officeDocument/2006/relationships/image" Target="../media/image52.png"/><Relationship Id="rId4" Type="http://schemas.openxmlformats.org/officeDocument/2006/relationships/tags" Target="../tags/tag262.xml"/><Relationship Id="rId9" Type="http://schemas.openxmlformats.org/officeDocument/2006/relationships/audio" Target="../media/media2.wav"/><Relationship Id="rId14" Type="http://schemas.openxmlformats.org/officeDocument/2006/relationships/tags" Target="../tags/tag27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4.xml"/><Relationship Id="rId7" Type="http://schemas.openxmlformats.org/officeDocument/2006/relationships/image" Target="../media/image5.jpe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26.xml"/><Relationship Id="rId10" Type="http://schemas.openxmlformats.org/officeDocument/2006/relationships/image" Target="../media/image8.png"/><Relationship Id="rId4" Type="http://schemas.openxmlformats.org/officeDocument/2006/relationships/tags" Target="../tags/tag25.xml"/><Relationship Id="rId9" Type="http://schemas.openxmlformats.org/officeDocument/2006/relationships/image" Target="../media/image7.sv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54.png"/><Relationship Id="rId3" Type="http://schemas.openxmlformats.org/officeDocument/2006/relationships/tags" Target="../tags/tag27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51.png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11" Type="http://schemas.openxmlformats.org/officeDocument/2006/relationships/image" Target="../media/image50.PNG"/><Relationship Id="rId5" Type="http://schemas.openxmlformats.org/officeDocument/2006/relationships/tags" Target="../tags/tag275.xml"/><Relationship Id="rId10" Type="http://schemas.openxmlformats.org/officeDocument/2006/relationships/image" Target="../media/image49.png"/><Relationship Id="rId4" Type="http://schemas.openxmlformats.org/officeDocument/2006/relationships/tags" Target="../tags/tag274.xml"/><Relationship Id="rId9" Type="http://schemas.openxmlformats.org/officeDocument/2006/relationships/image" Target="../media/image19.sv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84.xml"/><Relationship Id="rId13" Type="http://schemas.openxmlformats.org/officeDocument/2006/relationships/image" Target="../media/image18.png"/><Relationship Id="rId18" Type="http://schemas.openxmlformats.org/officeDocument/2006/relationships/image" Target="../media/image54.png"/><Relationship Id="rId3" Type="http://schemas.openxmlformats.org/officeDocument/2006/relationships/tags" Target="../tags/tag279.xml"/><Relationship Id="rId7" Type="http://schemas.openxmlformats.org/officeDocument/2006/relationships/tags" Target="../tags/tag283.xml"/><Relationship Id="rId12" Type="http://schemas.openxmlformats.org/officeDocument/2006/relationships/slideLayout" Target="../slideLayouts/slideLayout7.xml"/><Relationship Id="rId17" Type="http://schemas.openxmlformats.org/officeDocument/2006/relationships/image" Target="../media/image51.png"/><Relationship Id="rId2" Type="http://schemas.openxmlformats.org/officeDocument/2006/relationships/tags" Target="../tags/tag278.xml"/><Relationship Id="rId16" Type="http://schemas.openxmlformats.org/officeDocument/2006/relationships/image" Target="../media/image50.PNG"/><Relationship Id="rId1" Type="http://schemas.openxmlformats.org/officeDocument/2006/relationships/tags" Target="../tags/tag277.xml"/><Relationship Id="rId6" Type="http://schemas.openxmlformats.org/officeDocument/2006/relationships/tags" Target="../tags/tag282.xml"/><Relationship Id="rId11" Type="http://schemas.openxmlformats.org/officeDocument/2006/relationships/tags" Target="../tags/tag287.xml"/><Relationship Id="rId5" Type="http://schemas.openxmlformats.org/officeDocument/2006/relationships/tags" Target="../tags/tag281.xml"/><Relationship Id="rId15" Type="http://schemas.openxmlformats.org/officeDocument/2006/relationships/image" Target="../media/image55.png"/><Relationship Id="rId10" Type="http://schemas.openxmlformats.org/officeDocument/2006/relationships/tags" Target="../tags/tag286.xml"/><Relationship Id="rId4" Type="http://schemas.openxmlformats.org/officeDocument/2006/relationships/tags" Target="../tags/tag280.xml"/><Relationship Id="rId9" Type="http://schemas.openxmlformats.org/officeDocument/2006/relationships/tags" Target="../tags/tag285.xml"/><Relationship Id="rId14" Type="http://schemas.openxmlformats.org/officeDocument/2006/relationships/image" Target="../media/image19.sv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295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56.png"/><Relationship Id="rId3" Type="http://schemas.openxmlformats.org/officeDocument/2006/relationships/tags" Target="../tags/tag290.xml"/><Relationship Id="rId7" Type="http://schemas.openxmlformats.org/officeDocument/2006/relationships/tags" Target="../tags/tag294.xml"/><Relationship Id="rId12" Type="http://schemas.openxmlformats.org/officeDocument/2006/relationships/tags" Target="../tags/tag299.xml"/><Relationship Id="rId17" Type="http://schemas.openxmlformats.org/officeDocument/2006/relationships/image" Target="../media/image51.png"/><Relationship Id="rId2" Type="http://schemas.openxmlformats.org/officeDocument/2006/relationships/tags" Target="../tags/tag289.xml"/><Relationship Id="rId16" Type="http://schemas.openxmlformats.org/officeDocument/2006/relationships/image" Target="../media/image49.png"/><Relationship Id="rId1" Type="http://schemas.openxmlformats.org/officeDocument/2006/relationships/tags" Target="../tags/tag288.xml"/><Relationship Id="rId6" Type="http://schemas.openxmlformats.org/officeDocument/2006/relationships/tags" Target="../tags/tag293.xml"/><Relationship Id="rId11" Type="http://schemas.openxmlformats.org/officeDocument/2006/relationships/tags" Target="../tags/tag298.xml"/><Relationship Id="rId5" Type="http://schemas.openxmlformats.org/officeDocument/2006/relationships/tags" Target="../tags/tag292.xml"/><Relationship Id="rId15" Type="http://schemas.openxmlformats.org/officeDocument/2006/relationships/image" Target="../media/image19.svg"/><Relationship Id="rId10" Type="http://schemas.openxmlformats.org/officeDocument/2006/relationships/tags" Target="../tags/tag297.xml"/><Relationship Id="rId19" Type="http://schemas.openxmlformats.org/officeDocument/2006/relationships/image" Target="../media/image50.PNG"/><Relationship Id="rId4" Type="http://schemas.openxmlformats.org/officeDocument/2006/relationships/tags" Target="../tags/tag291.xml"/><Relationship Id="rId9" Type="http://schemas.openxmlformats.org/officeDocument/2006/relationships/tags" Target="../tags/tag296.xml"/><Relationship Id="rId14" Type="http://schemas.openxmlformats.org/officeDocument/2006/relationships/image" Target="../media/image18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02.xml"/><Relationship Id="rId7" Type="http://schemas.openxmlformats.org/officeDocument/2006/relationships/image" Target="../media/image18.png"/><Relationship Id="rId12" Type="http://schemas.openxmlformats.org/officeDocument/2006/relationships/image" Target="../media/image50.PNG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56.png"/><Relationship Id="rId5" Type="http://schemas.openxmlformats.org/officeDocument/2006/relationships/tags" Target="../tags/tag304.xml"/><Relationship Id="rId10" Type="http://schemas.openxmlformats.org/officeDocument/2006/relationships/image" Target="../media/image51.png"/><Relationship Id="rId4" Type="http://schemas.openxmlformats.org/officeDocument/2006/relationships/tags" Target="../tags/tag303.xml"/><Relationship Id="rId9" Type="http://schemas.openxmlformats.org/officeDocument/2006/relationships/image" Target="../media/image55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tags" Target="../tags/tag307.xml"/><Relationship Id="rId7" Type="http://schemas.openxmlformats.org/officeDocument/2006/relationships/image" Target="../media/image19.svg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08.xml"/><Relationship Id="rId9" Type="http://schemas.openxmlformats.org/officeDocument/2006/relationships/image" Target="../media/image54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311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310.xml"/><Relationship Id="rId1" Type="http://schemas.openxmlformats.org/officeDocument/2006/relationships/tags" Target="../tags/tag309.xml"/><Relationship Id="rId6" Type="http://schemas.openxmlformats.org/officeDocument/2006/relationships/tags" Target="../tags/tag314.xml"/><Relationship Id="rId11" Type="http://schemas.openxmlformats.org/officeDocument/2006/relationships/image" Target="../media/image8.png"/><Relationship Id="rId5" Type="http://schemas.openxmlformats.org/officeDocument/2006/relationships/tags" Target="../tags/tag313.xml"/><Relationship Id="rId10" Type="http://schemas.openxmlformats.org/officeDocument/2006/relationships/image" Target="../media/image7.svg"/><Relationship Id="rId4" Type="http://schemas.openxmlformats.org/officeDocument/2006/relationships/tags" Target="../tags/tag312.xml"/><Relationship Id="rId9" Type="http://schemas.openxmlformats.org/officeDocument/2006/relationships/image" Target="../media/image6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322.xml"/><Relationship Id="rId13" Type="http://schemas.openxmlformats.org/officeDocument/2006/relationships/image" Target="../media/image15.png"/><Relationship Id="rId3" Type="http://schemas.openxmlformats.org/officeDocument/2006/relationships/tags" Target="../tags/tag317.xml"/><Relationship Id="rId7" Type="http://schemas.openxmlformats.org/officeDocument/2006/relationships/tags" Target="../tags/tag321.xml"/><Relationship Id="rId12" Type="http://schemas.openxmlformats.org/officeDocument/2006/relationships/image" Target="../media/image5.jpeg"/><Relationship Id="rId17" Type="http://schemas.openxmlformats.org/officeDocument/2006/relationships/image" Target="../media/image43.png"/><Relationship Id="rId2" Type="http://schemas.openxmlformats.org/officeDocument/2006/relationships/tags" Target="../tags/tag316.xml"/><Relationship Id="rId16" Type="http://schemas.openxmlformats.org/officeDocument/2006/relationships/image" Target="../media/image42.svg"/><Relationship Id="rId1" Type="http://schemas.openxmlformats.org/officeDocument/2006/relationships/tags" Target="../tags/tag315.xml"/><Relationship Id="rId6" Type="http://schemas.openxmlformats.org/officeDocument/2006/relationships/tags" Target="../tags/tag320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319.xml"/><Relationship Id="rId15" Type="http://schemas.openxmlformats.org/officeDocument/2006/relationships/image" Target="../media/image41.png"/><Relationship Id="rId10" Type="http://schemas.openxmlformats.org/officeDocument/2006/relationships/tags" Target="../tags/tag324.xml"/><Relationship Id="rId4" Type="http://schemas.openxmlformats.org/officeDocument/2006/relationships/tags" Target="../tags/tag318.xml"/><Relationship Id="rId9" Type="http://schemas.openxmlformats.org/officeDocument/2006/relationships/tags" Target="../tags/tag323.xml"/><Relationship Id="rId14" Type="http://schemas.openxmlformats.org/officeDocument/2006/relationships/image" Target="../media/image29.sv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27.xml"/><Relationship Id="rId7" Type="http://schemas.openxmlformats.org/officeDocument/2006/relationships/image" Target="../media/image18.png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29.xml"/><Relationship Id="rId4" Type="http://schemas.openxmlformats.org/officeDocument/2006/relationships/tags" Target="../tags/tag328.xml"/><Relationship Id="rId9" Type="http://schemas.openxmlformats.org/officeDocument/2006/relationships/image" Target="../media/image49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32.xml"/><Relationship Id="rId7" Type="http://schemas.openxmlformats.org/officeDocument/2006/relationships/image" Target="../media/image18.png"/><Relationship Id="rId2" Type="http://schemas.openxmlformats.org/officeDocument/2006/relationships/tags" Target="../tags/tag331.xml"/><Relationship Id="rId1" Type="http://schemas.openxmlformats.org/officeDocument/2006/relationships/tags" Target="../tags/tag330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34.xml"/><Relationship Id="rId4" Type="http://schemas.openxmlformats.org/officeDocument/2006/relationships/tags" Target="../tags/tag333.xml"/><Relationship Id="rId9" Type="http://schemas.openxmlformats.org/officeDocument/2006/relationships/image" Target="../media/image49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37.xml"/><Relationship Id="rId7" Type="http://schemas.openxmlformats.org/officeDocument/2006/relationships/image" Target="../media/image18.png"/><Relationship Id="rId2" Type="http://schemas.openxmlformats.org/officeDocument/2006/relationships/tags" Target="../tags/tag336.xml"/><Relationship Id="rId1" Type="http://schemas.openxmlformats.org/officeDocument/2006/relationships/tags" Target="../tags/tag335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39.xml"/><Relationship Id="rId4" Type="http://schemas.openxmlformats.org/officeDocument/2006/relationships/tags" Target="../tags/tag338.xml"/><Relationship Id="rId9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image" Target="../media/image16.svg"/><Relationship Id="rId3" Type="http://schemas.openxmlformats.org/officeDocument/2006/relationships/tags" Target="../tags/tag29.xml"/><Relationship Id="rId21" Type="http://schemas.openxmlformats.org/officeDocument/2006/relationships/image" Target="../media/image19.svg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image" Target="../media/image15.png"/><Relationship Id="rId2" Type="http://schemas.openxmlformats.org/officeDocument/2006/relationships/tags" Target="../tags/tag28.xml"/><Relationship Id="rId16" Type="http://schemas.openxmlformats.org/officeDocument/2006/relationships/image" Target="../media/image5.jpeg"/><Relationship Id="rId20" Type="http://schemas.openxmlformats.org/officeDocument/2006/relationships/image" Target="../media/image18.png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6.xml"/><Relationship Id="rId19" Type="http://schemas.openxmlformats.org/officeDocument/2006/relationships/image" Target="../media/image17.png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image" Target="../media/image20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42.xml"/><Relationship Id="rId7" Type="http://schemas.openxmlformats.org/officeDocument/2006/relationships/image" Target="../media/image18.png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44.xml"/><Relationship Id="rId10" Type="http://schemas.openxmlformats.org/officeDocument/2006/relationships/image" Target="../media/image58.png"/><Relationship Id="rId4" Type="http://schemas.openxmlformats.org/officeDocument/2006/relationships/tags" Target="../tags/tag343.xml"/><Relationship Id="rId9" Type="http://schemas.openxmlformats.org/officeDocument/2006/relationships/image" Target="../media/image49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47.xml"/><Relationship Id="rId7" Type="http://schemas.openxmlformats.org/officeDocument/2006/relationships/image" Target="../media/image18.png"/><Relationship Id="rId2" Type="http://schemas.openxmlformats.org/officeDocument/2006/relationships/tags" Target="../tags/tag346.xml"/><Relationship Id="rId1" Type="http://schemas.openxmlformats.org/officeDocument/2006/relationships/tags" Target="../tags/tag345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49.xml"/><Relationship Id="rId10" Type="http://schemas.openxmlformats.org/officeDocument/2006/relationships/image" Target="../media/image59.png"/><Relationship Id="rId4" Type="http://schemas.openxmlformats.org/officeDocument/2006/relationships/tags" Target="../tags/tag348.xml"/><Relationship Id="rId9" Type="http://schemas.openxmlformats.org/officeDocument/2006/relationships/image" Target="../media/image49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52.xml"/><Relationship Id="rId7" Type="http://schemas.openxmlformats.org/officeDocument/2006/relationships/image" Target="../media/image18.png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54.xml"/><Relationship Id="rId10" Type="http://schemas.openxmlformats.org/officeDocument/2006/relationships/image" Target="../media/image60.png"/><Relationship Id="rId4" Type="http://schemas.openxmlformats.org/officeDocument/2006/relationships/tags" Target="../tags/tag353.xml"/><Relationship Id="rId9" Type="http://schemas.openxmlformats.org/officeDocument/2006/relationships/image" Target="../media/image49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57.xml"/><Relationship Id="rId7" Type="http://schemas.openxmlformats.org/officeDocument/2006/relationships/image" Target="../media/image18.png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59.xml"/><Relationship Id="rId4" Type="http://schemas.openxmlformats.org/officeDocument/2006/relationships/tags" Target="../tags/tag358.xml"/><Relationship Id="rId9" Type="http://schemas.openxmlformats.org/officeDocument/2006/relationships/image" Target="../media/image61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62.xml"/><Relationship Id="rId7" Type="http://schemas.openxmlformats.org/officeDocument/2006/relationships/image" Target="../media/image18.png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64.xml"/><Relationship Id="rId4" Type="http://schemas.openxmlformats.org/officeDocument/2006/relationships/tags" Target="../tags/tag363.xml"/><Relationship Id="rId9" Type="http://schemas.openxmlformats.org/officeDocument/2006/relationships/image" Target="../media/image24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67.xml"/><Relationship Id="rId7" Type="http://schemas.openxmlformats.org/officeDocument/2006/relationships/image" Target="../media/image18.png"/><Relationship Id="rId2" Type="http://schemas.openxmlformats.org/officeDocument/2006/relationships/tags" Target="../tags/tag366.xml"/><Relationship Id="rId1" Type="http://schemas.openxmlformats.org/officeDocument/2006/relationships/tags" Target="../tags/tag365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69.xml"/><Relationship Id="rId4" Type="http://schemas.openxmlformats.org/officeDocument/2006/relationships/tags" Target="../tags/tag368.xml"/><Relationship Id="rId9" Type="http://schemas.openxmlformats.org/officeDocument/2006/relationships/image" Target="../media/image62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72.xml"/><Relationship Id="rId7" Type="http://schemas.openxmlformats.org/officeDocument/2006/relationships/image" Target="../media/image18.png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74.xml"/><Relationship Id="rId4" Type="http://schemas.openxmlformats.org/officeDocument/2006/relationships/tags" Target="../tags/tag373.xml"/><Relationship Id="rId9" Type="http://schemas.openxmlformats.org/officeDocument/2006/relationships/image" Target="../media/image24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77.xml"/><Relationship Id="rId7" Type="http://schemas.openxmlformats.org/officeDocument/2006/relationships/image" Target="../media/image18.png"/><Relationship Id="rId2" Type="http://schemas.openxmlformats.org/officeDocument/2006/relationships/tags" Target="../tags/tag376.xml"/><Relationship Id="rId1" Type="http://schemas.openxmlformats.org/officeDocument/2006/relationships/tags" Target="../tags/tag375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79.xml"/><Relationship Id="rId4" Type="http://schemas.openxmlformats.org/officeDocument/2006/relationships/tags" Target="../tags/tag378.xml"/><Relationship Id="rId9" Type="http://schemas.openxmlformats.org/officeDocument/2006/relationships/image" Target="../media/image61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82.xml"/><Relationship Id="rId7" Type="http://schemas.openxmlformats.org/officeDocument/2006/relationships/image" Target="../media/image18.png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84.xml"/><Relationship Id="rId4" Type="http://schemas.openxmlformats.org/officeDocument/2006/relationships/tags" Target="../tags/tag383.xml"/><Relationship Id="rId9" Type="http://schemas.openxmlformats.org/officeDocument/2006/relationships/image" Target="../media/image24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87.xml"/><Relationship Id="rId7" Type="http://schemas.openxmlformats.org/officeDocument/2006/relationships/image" Target="../media/image18.png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89.xml"/><Relationship Id="rId4" Type="http://schemas.openxmlformats.org/officeDocument/2006/relationships/tags" Target="../tags/tag388.xml"/><Relationship Id="rId9" Type="http://schemas.openxmlformats.org/officeDocument/2006/relationships/image" Target="../media/image61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image" Target="../media/image21.jpeg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image" Target="../media/image16.svg"/><Relationship Id="rId33" Type="http://schemas.openxmlformats.org/officeDocument/2006/relationships/image" Target="../media/image28.png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image" Target="../media/image24.png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image" Target="../media/image15.png"/><Relationship Id="rId32" Type="http://schemas.openxmlformats.org/officeDocument/2006/relationships/image" Target="../media/image27.png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image" Target="../media/image5.jpeg"/><Relationship Id="rId28" Type="http://schemas.openxmlformats.org/officeDocument/2006/relationships/image" Target="../media/image23.png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image" Target="../media/image26.jpeg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slideLayout" Target="../slideLayouts/slideLayout7.xml"/><Relationship Id="rId27" Type="http://schemas.openxmlformats.org/officeDocument/2006/relationships/image" Target="../media/image22.png"/><Relationship Id="rId30" Type="http://schemas.openxmlformats.org/officeDocument/2006/relationships/image" Target="../media/image25.jpeg"/><Relationship Id="rId8" Type="http://schemas.openxmlformats.org/officeDocument/2006/relationships/tags" Target="../tags/tag48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92.xml"/><Relationship Id="rId7" Type="http://schemas.openxmlformats.org/officeDocument/2006/relationships/image" Target="../media/image18.png"/><Relationship Id="rId2" Type="http://schemas.openxmlformats.org/officeDocument/2006/relationships/tags" Target="../tags/tag391.xml"/><Relationship Id="rId1" Type="http://schemas.openxmlformats.org/officeDocument/2006/relationships/tags" Target="../tags/tag390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94.xml"/><Relationship Id="rId4" Type="http://schemas.openxmlformats.org/officeDocument/2006/relationships/tags" Target="../tags/tag393.xml"/><Relationship Id="rId9" Type="http://schemas.openxmlformats.org/officeDocument/2006/relationships/image" Target="../media/image24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97.xml"/><Relationship Id="rId7" Type="http://schemas.openxmlformats.org/officeDocument/2006/relationships/image" Target="../media/image18.png"/><Relationship Id="rId2" Type="http://schemas.openxmlformats.org/officeDocument/2006/relationships/tags" Target="../tags/tag396.xml"/><Relationship Id="rId1" Type="http://schemas.openxmlformats.org/officeDocument/2006/relationships/tags" Target="../tags/tag395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99.xml"/><Relationship Id="rId4" Type="http://schemas.openxmlformats.org/officeDocument/2006/relationships/tags" Target="../tags/tag398.xml"/><Relationship Id="rId9" Type="http://schemas.openxmlformats.org/officeDocument/2006/relationships/image" Target="../media/image61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3" Type="http://schemas.openxmlformats.org/officeDocument/2006/relationships/tags" Target="../tags/tag402.xml"/><Relationship Id="rId7" Type="http://schemas.openxmlformats.org/officeDocument/2006/relationships/image" Target="../media/image19.svg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03.xml"/><Relationship Id="rId9" Type="http://schemas.openxmlformats.org/officeDocument/2006/relationships/image" Target="../media/image64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3" Type="http://schemas.openxmlformats.org/officeDocument/2006/relationships/tags" Target="../tags/tag406.xml"/><Relationship Id="rId7" Type="http://schemas.openxmlformats.org/officeDocument/2006/relationships/image" Target="../media/image19.svg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07.xml"/><Relationship Id="rId9" Type="http://schemas.openxmlformats.org/officeDocument/2006/relationships/image" Target="../media/image65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3" Type="http://schemas.openxmlformats.org/officeDocument/2006/relationships/tags" Target="../tags/tag410.xml"/><Relationship Id="rId7" Type="http://schemas.openxmlformats.org/officeDocument/2006/relationships/image" Target="../media/image19.svg"/><Relationship Id="rId2" Type="http://schemas.openxmlformats.org/officeDocument/2006/relationships/tags" Target="../tags/tag409.xml"/><Relationship Id="rId1" Type="http://schemas.openxmlformats.org/officeDocument/2006/relationships/tags" Target="../tags/tag408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10" Type="http://schemas.microsoft.com/office/2007/relationships/hdphoto" Target="../media/hdphoto1.wdp"/><Relationship Id="rId4" Type="http://schemas.openxmlformats.org/officeDocument/2006/relationships/tags" Target="../tags/tag411.xml"/><Relationship Id="rId9" Type="http://schemas.openxmlformats.org/officeDocument/2006/relationships/image" Target="../media/image66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3" Type="http://schemas.openxmlformats.org/officeDocument/2006/relationships/tags" Target="../tags/tag414.xml"/><Relationship Id="rId7" Type="http://schemas.openxmlformats.org/officeDocument/2006/relationships/image" Target="../media/image19.svg"/><Relationship Id="rId2" Type="http://schemas.openxmlformats.org/officeDocument/2006/relationships/tags" Target="../tags/tag413.xml"/><Relationship Id="rId1" Type="http://schemas.openxmlformats.org/officeDocument/2006/relationships/tags" Target="../tags/tag412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15.xml"/><Relationship Id="rId9" Type="http://schemas.openxmlformats.org/officeDocument/2006/relationships/image" Target="../media/image67.jpe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18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17.xml"/><Relationship Id="rId1" Type="http://schemas.openxmlformats.org/officeDocument/2006/relationships/tags" Target="../tags/tag416.xml"/><Relationship Id="rId6" Type="http://schemas.openxmlformats.org/officeDocument/2006/relationships/tags" Target="../tags/tag421.xml"/><Relationship Id="rId11" Type="http://schemas.openxmlformats.org/officeDocument/2006/relationships/image" Target="../media/image68.png"/><Relationship Id="rId5" Type="http://schemas.openxmlformats.org/officeDocument/2006/relationships/tags" Target="../tags/tag420.xml"/><Relationship Id="rId10" Type="http://schemas.openxmlformats.org/officeDocument/2006/relationships/image" Target="../media/image32.png"/><Relationship Id="rId4" Type="http://schemas.openxmlformats.org/officeDocument/2006/relationships/tags" Target="../tags/tag419.xml"/><Relationship Id="rId9" Type="http://schemas.openxmlformats.org/officeDocument/2006/relationships/image" Target="../media/image19.sv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424.xml"/><Relationship Id="rId7" Type="http://schemas.openxmlformats.org/officeDocument/2006/relationships/image" Target="../media/image19.svg"/><Relationship Id="rId2" Type="http://schemas.openxmlformats.org/officeDocument/2006/relationships/tags" Target="../tags/tag423.xml"/><Relationship Id="rId1" Type="http://schemas.openxmlformats.org/officeDocument/2006/relationships/tags" Target="../tags/tag422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25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tags" Target="../tags/tag428.xml"/><Relationship Id="rId7" Type="http://schemas.openxmlformats.org/officeDocument/2006/relationships/image" Target="../media/image19.svg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29.xml"/><Relationship Id="rId9" Type="http://schemas.openxmlformats.org/officeDocument/2006/relationships/image" Target="../media/image69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tags" Target="../tags/tag437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432.xml"/><Relationship Id="rId7" Type="http://schemas.openxmlformats.org/officeDocument/2006/relationships/tags" Target="../tags/tag436.xml"/><Relationship Id="rId12" Type="http://schemas.openxmlformats.org/officeDocument/2006/relationships/tags" Target="../tags/tag441.xml"/><Relationship Id="rId17" Type="http://schemas.openxmlformats.org/officeDocument/2006/relationships/image" Target="../media/image70.png"/><Relationship Id="rId2" Type="http://schemas.openxmlformats.org/officeDocument/2006/relationships/tags" Target="../tags/tag431.xml"/><Relationship Id="rId16" Type="http://schemas.openxmlformats.org/officeDocument/2006/relationships/image" Target="../media/image19.svg"/><Relationship Id="rId1" Type="http://schemas.openxmlformats.org/officeDocument/2006/relationships/tags" Target="../tags/tag430.xml"/><Relationship Id="rId6" Type="http://schemas.openxmlformats.org/officeDocument/2006/relationships/tags" Target="../tags/tag435.xml"/><Relationship Id="rId11" Type="http://schemas.openxmlformats.org/officeDocument/2006/relationships/tags" Target="../tags/tag440.xml"/><Relationship Id="rId5" Type="http://schemas.openxmlformats.org/officeDocument/2006/relationships/tags" Target="../tags/tag434.xml"/><Relationship Id="rId15" Type="http://schemas.openxmlformats.org/officeDocument/2006/relationships/image" Target="../media/image18.png"/><Relationship Id="rId10" Type="http://schemas.openxmlformats.org/officeDocument/2006/relationships/tags" Target="../tags/tag439.xml"/><Relationship Id="rId4" Type="http://schemas.openxmlformats.org/officeDocument/2006/relationships/tags" Target="../tags/tag433.xml"/><Relationship Id="rId9" Type="http://schemas.openxmlformats.org/officeDocument/2006/relationships/tags" Target="../tags/tag438.xml"/><Relationship Id="rId14" Type="http://schemas.openxmlformats.org/officeDocument/2006/relationships/image" Target="../media/image6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image" Target="../media/image13.png"/><Relationship Id="rId3" Type="http://schemas.openxmlformats.org/officeDocument/2006/relationships/tags" Target="../tags/tag64.xml"/><Relationship Id="rId21" Type="http://schemas.openxmlformats.org/officeDocument/2006/relationships/tags" Target="../tags/tag82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image" Target="../media/image29.svg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29" Type="http://schemas.openxmlformats.org/officeDocument/2006/relationships/image" Target="../media/image32.png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image" Target="../media/image15.png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image" Target="../media/image5.jpeg"/><Relationship Id="rId28" Type="http://schemas.openxmlformats.org/officeDocument/2006/relationships/image" Target="../media/image31.png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slideLayout" Target="../slideLayouts/slideLayout18.xml"/><Relationship Id="rId27" Type="http://schemas.openxmlformats.org/officeDocument/2006/relationships/image" Target="../media/image30.png"/><Relationship Id="rId30" Type="http://schemas.openxmlformats.org/officeDocument/2006/relationships/image" Target="../media/image33.png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tags" Target="../tags/tag444.xml"/><Relationship Id="rId7" Type="http://schemas.openxmlformats.org/officeDocument/2006/relationships/image" Target="../media/image19.svg"/><Relationship Id="rId2" Type="http://schemas.openxmlformats.org/officeDocument/2006/relationships/tags" Target="../tags/tag443.xml"/><Relationship Id="rId1" Type="http://schemas.openxmlformats.org/officeDocument/2006/relationships/tags" Target="../tags/tag442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45.xml"/><Relationship Id="rId9" Type="http://schemas.openxmlformats.org/officeDocument/2006/relationships/image" Target="../media/image71.pn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tags" Target="../tags/tag453.xml"/><Relationship Id="rId13" Type="http://schemas.openxmlformats.org/officeDocument/2006/relationships/image" Target="../media/image19.svg"/><Relationship Id="rId3" Type="http://schemas.openxmlformats.org/officeDocument/2006/relationships/tags" Target="../tags/tag448.xml"/><Relationship Id="rId7" Type="http://schemas.openxmlformats.org/officeDocument/2006/relationships/tags" Target="../tags/tag452.xml"/><Relationship Id="rId12" Type="http://schemas.openxmlformats.org/officeDocument/2006/relationships/image" Target="../media/image18.png"/><Relationship Id="rId2" Type="http://schemas.openxmlformats.org/officeDocument/2006/relationships/tags" Target="../tags/tag447.xml"/><Relationship Id="rId1" Type="http://schemas.openxmlformats.org/officeDocument/2006/relationships/tags" Target="../tags/tag446.xml"/><Relationship Id="rId6" Type="http://schemas.openxmlformats.org/officeDocument/2006/relationships/tags" Target="../tags/tag451.xml"/><Relationship Id="rId11" Type="http://schemas.openxmlformats.org/officeDocument/2006/relationships/image" Target="../media/image71.png"/><Relationship Id="rId5" Type="http://schemas.openxmlformats.org/officeDocument/2006/relationships/tags" Target="../tags/tag450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449.xml"/><Relationship Id="rId9" Type="http://schemas.openxmlformats.org/officeDocument/2006/relationships/tags" Target="../tags/tag454.xml"/><Relationship Id="rId14" Type="http://schemas.openxmlformats.org/officeDocument/2006/relationships/image" Target="../media/image70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tags" Target="../tags/tag457.xml"/><Relationship Id="rId7" Type="http://schemas.openxmlformats.org/officeDocument/2006/relationships/image" Target="../media/image19.svg"/><Relationship Id="rId2" Type="http://schemas.openxmlformats.org/officeDocument/2006/relationships/tags" Target="../tags/tag456.xml"/><Relationship Id="rId1" Type="http://schemas.openxmlformats.org/officeDocument/2006/relationships/tags" Target="../tags/tag455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58.xml"/><Relationship Id="rId9" Type="http://schemas.openxmlformats.org/officeDocument/2006/relationships/image" Target="../media/image72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61.xml"/><Relationship Id="rId7" Type="http://schemas.openxmlformats.org/officeDocument/2006/relationships/image" Target="../media/image18.png"/><Relationship Id="rId2" Type="http://schemas.openxmlformats.org/officeDocument/2006/relationships/tags" Target="../tags/tag460.xml"/><Relationship Id="rId1" Type="http://schemas.openxmlformats.org/officeDocument/2006/relationships/tags" Target="../tags/tag459.xml"/><Relationship Id="rId6" Type="http://schemas.openxmlformats.org/officeDocument/2006/relationships/image" Target="../media/image72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62.xml"/><Relationship Id="rId9" Type="http://schemas.openxmlformats.org/officeDocument/2006/relationships/image" Target="../media/image73.jpe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tags" Target="../tags/tag468.xml"/><Relationship Id="rId13" Type="http://schemas.openxmlformats.org/officeDocument/2006/relationships/tags" Target="../tags/tag473.xml"/><Relationship Id="rId18" Type="http://schemas.openxmlformats.org/officeDocument/2006/relationships/image" Target="../media/image52.png"/><Relationship Id="rId3" Type="http://schemas.openxmlformats.org/officeDocument/2006/relationships/tags" Target="../tags/tag465.xml"/><Relationship Id="rId7" Type="http://schemas.openxmlformats.org/officeDocument/2006/relationships/audio" Target="../media/media3.mp3"/><Relationship Id="rId12" Type="http://schemas.openxmlformats.org/officeDocument/2006/relationships/tags" Target="../tags/tag472.xml"/><Relationship Id="rId17" Type="http://schemas.openxmlformats.org/officeDocument/2006/relationships/image" Target="../media/image74.gif"/><Relationship Id="rId2" Type="http://schemas.openxmlformats.org/officeDocument/2006/relationships/tags" Target="../tags/tag464.xml"/><Relationship Id="rId16" Type="http://schemas.openxmlformats.org/officeDocument/2006/relationships/image" Target="../media/image19.svg"/><Relationship Id="rId1" Type="http://schemas.openxmlformats.org/officeDocument/2006/relationships/tags" Target="../tags/tag463.xml"/><Relationship Id="rId6" Type="http://schemas.microsoft.com/office/2007/relationships/media" Target="../media/media3.mp3"/><Relationship Id="rId11" Type="http://schemas.openxmlformats.org/officeDocument/2006/relationships/tags" Target="../tags/tag471.xml"/><Relationship Id="rId5" Type="http://schemas.openxmlformats.org/officeDocument/2006/relationships/tags" Target="../tags/tag467.xml"/><Relationship Id="rId15" Type="http://schemas.openxmlformats.org/officeDocument/2006/relationships/image" Target="../media/image18.png"/><Relationship Id="rId10" Type="http://schemas.openxmlformats.org/officeDocument/2006/relationships/tags" Target="../tags/tag470.xml"/><Relationship Id="rId4" Type="http://schemas.openxmlformats.org/officeDocument/2006/relationships/tags" Target="../tags/tag466.xml"/><Relationship Id="rId9" Type="http://schemas.openxmlformats.org/officeDocument/2006/relationships/tags" Target="../tags/tag469.xml"/><Relationship Id="rId14" Type="http://schemas.openxmlformats.org/officeDocument/2006/relationships/slideLayout" Target="../slideLayouts/slideLayout29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tags" Target="../tags/tag481.xml"/><Relationship Id="rId13" Type="http://schemas.openxmlformats.org/officeDocument/2006/relationships/tags" Target="../tags/tag486.xml"/><Relationship Id="rId18" Type="http://schemas.openxmlformats.org/officeDocument/2006/relationships/image" Target="../media/image76.jpeg"/><Relationship Id="rId3" Type="http://schemas.openxmlformats.org/officeDocument/2006/relationships/tags" Target="../tags/tag476.xml"/><Relationship Id="rId21" Type="http://schemas.microsoft.com/office/2007/relationships/hdphoto" Target="../media/hdphoto2.wdp"/><Relationship Id="rId7" Type="http://schemas.openxmlformats.org/officeDocument/2006/relationships/tags" Target="../tags/tag480.xml"/><Relationship Id="rId12" Type="http://schemas.openxmlformats.org/officeDocument/2006/relationships/tags" Target="../tags/tag485.xml"/><Relationship Id="rId17" Type="http://schemas.openxmlformats.org/officeDocument/2006/relationships/image" Target="../media/image75.jpg"/><Relationship Id="rId2" Type="http://schemas.openxmlformats.org/officeDocument/2006/relationships/tags" Target="../tags/tag475.xml"/><Relationship Id="rId16" Type="http://schemas.openxmlformats.org/officeDocument/2006/relationships/image" Target="../media/image19.svg"/><Relationship Id="rId20" Type="http://schemas.openxmlformats.org/officeDocument/2006/relationships/image" Target="../media/image78.png"/><Relationship Id="rId1" Type="http://schemas.openxmlformats.org/officeDocument/2006/relationships/tags" Target="../tags/tag474.xml"/><Relationship Id="rId6" Type="http://schemas.openxmlformats.org/officeDocument/2006/relationships/tags" Target="../tags/tag479.xml"/><Relationship Id="rId11" Type="http://schemas.openxmlformats.org/officeDocument/2006/relationships/tags" Target="../tags/tag484.xml"/><Relationship Id="rId5" Type="http://schemas.openxmlformats.org/officeDocument/2006/relationships/tags" Target="../tags/tag478.xml"/><Relationship Id="rId15" Type="http://schemas.openxmlformats.org/officeDocument/2006/relationships/image" Target="../media/image18.png"/><Relationship Id="rId10" Type="http://schemas.openxmlformats.org/officeDocument/2006/relationships/tags" Target="../tags/tag483.xml"/><Relationship Id="rId19" Type="http://schemas.openxmlformats.org/officeDocument/2006/relationships/image" Target="../media/image77.jpg"/><Relationship Id="rId4" Type="http://schemas.openxmlformats.org/officeDocument/2006/relationships/tags" Target="../tags/tag477.xml"/><Relationship Id="rId9" Type="http://schemas.openxmlformats.org/officeDocument/2006/relationships/tags" Target="../tags/tag482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79.png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tags" Target="../tags/tag494.xml"/><Relationship Id="rId13" Type="http://schemas.openxmlformats.org/officeDocument/2006/relationships/image" Target="../media/image44.png"/><Relationship Id="rId3" Type="http://schemas.openxmlformats.org/officeDocument/2006/relationships/tags" Target="../tags/tag489.xml"/><Relationship Id="rId7" Type="http://schemas.openxmlformats.org/officeDocument/2006/relationships/tags" Target="../tags/tag493.xml"/><Relationship Id="rId12" Type="http://schemas.openxmlformats.org/officeDocument/2006/relationships/image" Target="../media/image19.svg"/><Relationship Id="rId2" Type="http://schemas.openxmlformats.org/officeDocument/2006/relationships/tags" Target="../tags/tag488.xml"/><Relationship Id="rId1" Type="http://schemas.openxmlformats.org/officeDocument/2006/relationships/tags" Target="../tags/tag487.xml"/><Relationship Id="rId6" Type="http://schemas.openxmlformats.org/officeDocument/2006/relationships/tags" Target="../tags/tag492.xml"/><Relationship Id="rId11" Type="http://schemas.openxmlformats.org/officeDocument/2006/relationships/image" Target="../media/image18.png"/><Relationship Id="rId5" Type="http://schemas.openxmlformats.org/officeDocument/2006/relationships/tags" Target="../tags/tag491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490.xml"/><Relationship Id="rId9" Type="http://schemas.openxmlformats.org/officeDocument/2006/relationships/tags" Target="../tags/tag495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0.pn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496.xml"/><Relationship Id="rId6" Type="http://schemas.openxmlformats.org/officeDocument/2006/relationships/hyperlink" Target="https://docs.google.com/forms/d/e/1FAIpQLSeGbEh4eCfj0ri_aqOht0VG2q1xZDER-dmv6wFZwOP759wbuA/formResponse" TargetMode="Externa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35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34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29.svg"/><Relationship Id="rId5" Type="http://schemas.openxmlformats.org/officeDocument/2006/relationships/tags" Target="../tags/tag87.xml"/><Relationship Id="rId10" Type="http://schemas.openxmlformats.org/officeDocument/2006/relationships/image" Target="../media/image15.png"/><Relationship Id="rId4" Type="http://schemas.openxmlformats.org/officeDocument/2006/relationships/tags" Target="../tags/tag86.xml"/><Relationship Id="rId9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2.xml"/><Relationship Id="rId7" Type="http://schemas.openxmlformats.org/officeDocument/2006/relationships/image" Target="../media/image5.jpe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94.xml"/><Relationship Id="rId10" Type="http://schemas.openxmlformats.org/officeDocument/2006/relationships/image" Target="../media/image8.png"/><Relationship Id="rId4" Type="http://schemas.openxmlformats.org/officeDocument/2006/relationships/tags" Target="../tags/tag93.xml"/><Relationship Id="rId9" Type="http://schemas.openxmlformats.org/officeDocument/2006/relationships/image" Target="../media/image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29.sv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image" Target="../media/image15.png"/><Relationship Id="rId5" Type="http://schemas.openxmlformats.org/officeDocument/2006/relationships/tags" Target="../tags/tag99.xml"/><Relationship Id="rId10" Type="http://schemas.openxmlformats.org/officeDocument/2006/relationships/image" Target="../media/image5.jpeg"/><Relationship Id="rId4" Type="http://schemas.openxmlformats.org/officeDocument/2006/relationships/tags" Target="../tags/tag98.xml"/><Relationship Id="rId9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4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/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Freeform 7">
            <a:extLst>
              <a:ext uri="{FF2B5EF4-FFF2-40B4-BE49-F238E27FC236}">
                <a16:creationId xmlns:a16="http://schemas.microsoft.com/office/drawing/2014/main" id="{212C47DE-24FE-3D2A-2BF4-CF85C52978E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437500" y="2237707"/>
            <a:ext cx="2232407" cy="2382389"/>
          </a:xfrm>
          <a:custGeom>
            <a:avLst/>
            <a:gdLst/>
            <a:ahLst/>
            <a:cxnLst/>
            <a:rect l="l" t="t" r="r" b="b"/>
            <a:pathLst>
              <a:path w="1446572" h="1650653">
                <a:moveTo>
                  <a:pt x="0" y="0"/>
                </a:moveTo>
                <a:lnTo>
                  <a:pt x="1446572" y="0"/>
                </a:lnTo>
                <a:lnTo>
                  <a:pt x="1446572" y="1650653"/>
                </a:lnTo>
                <a:lnTo>
                  <a:pt x="0" y="1650653"/>
                </a:lnTo>
                <a:lnTo>
                  <a:pt x="0" y="0"/>
                </a:lnTo>
                <a:close/>
              </a:path>
            </a:pathLst>
          </a:custGeom>
          <a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B6C207-E5D2-BF11-2359-9226E7D8408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200401" y="4086296"/>
            <a:ext cx="6963158" cy="10306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5">
              <a:lnSpc>
                <a:spcPts val="7869"/>
              </a:lnSpc>
              <a:defRPr/>
            </a:pPr>
            <a:r>
              <a:rPr lang="en-US" sz="8001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Français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10F4B7C3-30C1-1BB2-02D4-6F424706D3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174729" y="2943079"/>
            <a:ext cx="2757950" cy="605935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Niveau</a:t>
            </a:r>
            <a:r>
              <a:rPr lang="en-US" sz="36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</a:t>
            </a:r>
            <a:r>
              <a:rPr lang="en-US" sz="32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</a:t>
            </a:r>
            <a:r>
              <a:rPr lang="en-US" sz="30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</a:t>
            </a:r>
            <a:r>
              <a:rPr lang="en-US" sz="33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     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4E4B761-C372-0F2B-E9CC-0DF7A0D44B7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867902" y="3516626"/>
            <a:ext cx="13716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45">
              <a:defRPr/>
            </a:pPr>
            <a:r>
              <a:rPr lang="en-US" sz="6000" b="1" dirty="0">
                <a:solidFill>
                  <a:srgbClr val="FCBF18"/>
                </a:solidFill>
                <a:latin typeface="Dosis Bold"/>
              </a:rPr>
              <a:t>1 </a:t>
            </a:r>
            <a:endParaRPr lang="fr-MA" sz="6000" b="1" dirty="0">
              <a:solidFill>
                <a:srgbClr val="FCBF18"/>
              </a:solidFill>
              <a:latin typeface="Dosis" pitchFamily="2" charset="0"/>
            </a:endParaRPr>
          </a:p>
        </p:txBody>
      </p:sp>
      <p:pic>
        <p:nvPicPr>
          <p:cNvPr id="8" name="Picture 2" descr="الصفحة الرئيسية">
            <a:extLst>
              <a:ext uri="{FF2B5EF4-FFF2-40B4-BE49-F238E27FC236}">
                <a16:creationId xmlns:a16="http://schemas.microsoft.com/office/drawing/2014/main" id="{C974ACDD-10FD-D838-8D0D-6B5470FEED51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623" y="753919"/>
            <a:ext cx="6963158" cy="105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411D2F2D-4AAE-4EEF-B851-D408755FBC0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71711" y="7148621"/>
            <a:ext cx="6172578" cy="966680"/>
          </a:xfrm>
          <a:prstGeom prst="roundRect">
            <a:avLst>
              <a:gd name="adj" fmla="val 32324"/>
            </a:avLst>
          </a:prstGeom>
          <a:solidFill>
            <a:srgbClr val="215968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D13C3FE6-2C2A-82BC-D09A-A78C99C5328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771711" y="7328993"/>
            <a:ext cx="6172578" cy="6059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 err="1">
                <a:solidFill>
                  <a:prstClr val="white"/>
                </a:solidFill>
                <a:latin typeface="Dosis Bold"/>
              </a:rPr>
              <a:t>Semaine</a:t>
            </a:r>
            <a:r>
              <a:rPr lang="en-US" sz="4001" dirty="0">
                <a:solidFill>
                  <a:prstClr val="white"/>
                </a:solidFill>
                <a:latin typeface="Dosis Bold"/>
              </a:rPr>
              <a:t> 4 - Séance 2</a:t>
            </a: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A3E8B26A-E360-4F3F-FCFA-79DC6106180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99772" y="5354312"/>
            <a:ext cx="8164415" cy="8932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45">
              <a:lnSpc>
                <a:spcPts val="7869"/>
              </a:lnSpc>
              <a:defRPr/>
            </a:pPr>
            <a:r>
              <a:rPr lang="en-US" sz="4400" b="1" dirty="0" err="1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Période</a:t>
            </a:r>
            <a:r>
              <a:rPr lang="en-US" sz="4400" b="1" dirty="0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 2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B17E0C8-16BE-B035-04C3-D705EA2163D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695536" y="8574280"/>
            <a:ext cx="3225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spcAft>
                <a:spcPts val="1800"/>
              </a:spcAft>
            </a:pPr>
            <a:r>
              <a:rPr lang="fr-FR" sz="2400" b="1" i="1">
                <a:solidFill>
                  <a:prstClr val="white">
                    <a:lumMod val="50000"/>
                  </a:prstClr>
                </a:solidFill>
                <a:latin typeface="Calibri"/>
              </a:rPr>
              <a:t>  </a:t>
            </a:r>
            <a:endParaRPr lang="fr-FR" sz="2400" i="1" dirty="0">
              <a:solidFill>
                <a:prstClr val="white">
                  <a:lumMod val="50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61699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/>
          <p:cNvSpPr txBox="1"/>
          <p:nvPr>
            <p:custDataLst>
              <p:tags r:id="rId2"/>
            </p:custDataLst>
          </p:nvPr>
        </p:nvSpPr>
        <p:spPr>
          <a:xfrm>
            <a:off x="641110" y="4460417"/>
            <a:ext cx="12769469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  Programme de la période 2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/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C1086E2-7A06-62F6-C796-804478648C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2889248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762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-26983"/>
            <a:ext cx="12954000" cy="9771484"/>
            <a:chOff x="0" y="-47625"/>
            <a:chExt cx="3895412" cy="2602800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190027"/>
              <a:ext cx="3895412" cy="2365148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61989" y="315096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181198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ECC94E17-0C62-CC81-3A06-A8B33AC9655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09538" y="1114306"/>
            <a:ext cx="129540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600" b="1" dirty="0">
                <a:solidFill>
                  <a:srgbClr val="106585"/>
                </a:solidFill>
                <a:latin typeface="Dosis" pitchFamily="2" charset="0"/>
              </a:rPr>
              <a:t>Attendus de la période 2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231ED9A6-5C3B-580D-7650-184F1CB14D9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1806" y="8571776"/>
            <a:ext cx="13897946" cy="4750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85835">
              <a:lnSpc>
                <a:spcPts val="4199"/>
              </a:lnSpc>
              <a:defRPr/>
            </a:pP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C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Compréhens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LF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Lecture-Fluenc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E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Ecrite 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OL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Outils de Langu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2D56A02-822C-0F86-577A-60DB46E4E2B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92208" y="1980926"/>
            <a:ext cx="9731583" cy="632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9247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259080"/>
            <a:ext cx="13716000" cy="1054608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41030"/>
            <a:ext cx="12954000" cy="9603471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09539" y="-25908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-294369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A1C5B658-B5A3-9509-A0B7-C410DEE8338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083926" y="3351362"/>
            <a:ext cx="7902872" cy="4651620"/>
          </a:xfrm>
          <a:prstGeom prst="roundRect">
            <a:avLst>
              <a:gd name="adj" fmla="val 9885"/>
            </a:avLst>
          </a:prstGeom>
          <a:solidFill>
            <a:srgbClr val="FFFFCC"/>
          </a:solidFill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7B8B06D-75C4-F895-FF45-3E9EBF1A2B9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974221" y="4389093"/>
            <a:ext cx="6051113" cy="158766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1  :   C’est quo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2 :  Est-ce que tu as…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3 :   Il y a quoi dans… ?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64B3988-DB73-5A36-57CC-8242BB4DDE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915225" y="6031316"/>
            <a:ext cx="6051114" cy="1527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accent6">
                    <a:lumMod val="75000"/>
                  </a:schemeClr>
                </a:solidFill>
                <a:latin typeface="Dosis" pitchFamily="2" charset="0"/>
              </a:rPr>
              <a:t>Semaine 4 :  </a:t>
            </a:r>
            <a:r>
              <a:rPr lang="fr-FR" sz="2400" b="1" dirty="0">
                <a:solidFill>
                  <a:schemeClr val="accent1"/>
                </a:solidFill>
                <a:latin typeface="Dosis" pitchFamily="2" charset="0"/>
              </a:rPr>
              <a:t>C’est quel jour, aujourd’hu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5 :  Tu fais quoi en classe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6 :  Révision et évaluation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3B8EEA35-906C-F5B1-42FC-BFFBD1ED65A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09538" y="1609842"/>
            <a:ext cx="12954000" cy="12599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300" b="1" dirty="0">
                <a:solidFill>
                  <a:srgbClr val="106585"/>
                </a:solidFill>
                <a:latin typeface="Dosis" pitchFamily="2" charset="0"/>
              </a:rPr>
              <a:t>Programmation thématique de la période 2 </a:t>
            </a:r>
          </a:p>
          <a:p>
            <a:pPr algn="ctr" defTabSz="685835">
              <a:lnSpc>
                <a:spcPts val="4199"/>
              </a:lnSpc>
              <a:defRPr/>
            </a:pPr>
            <a:r>
              <a:rPr lang="fr-FR" sz="3000" b="1" dirty="0">
                <a:solidFill>
                  <a:schemeClr val="accent1"/>
                </a:solidFill>
                <a:latin typeface="Dosis" pitchFamily="2" charset="0"/>
              </a:rPr>
              <a:t>Thème : « Ma classe »</a:t>
            </a:r>
          </a:p>
        </p:txBody>
      </p:sp>
      <p:sp>
        <p:nvSpPr>
          <p:cNvPr id="16" name="TextBox 9">
            <a:extLst>
              <a:ext uri="{FF2B5EF4-FFF2-40B4-BE49-F238E27FC236}">
                <a16:creationId xmlns:a16="http://schemas.microsoft.com/office/drawing/2014/main" id="{40D96284-86EB-E4B0-178E-351340DA94F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75748" y="3582463"/>
            <a:ext cx="12954000" cy="4818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b="1" dirty="0">
                <a:solidFill>
                  <a:schemeClr val="accent1"/>
                </a:solidFill>
                <a:latin typeface="Dosis" pitchFamily="2" charset="0"/>
              </a:rPr>
              <a:t>Sous-thèmes : </a:t>
            </a:r>
          </a:p>
        </p:txBody>
      </p:sp>
    </p:spTree>
    <p:extLst>
      <p:ext uri="{BB962C8B-B14F-4D97-AF65-F5344CB8AC3E}">
        <p14:creationId xmlns:p14="http://schemas.microsoft.com/office/powerpoint/2010/main" val="26621757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3356E9-2DD3-2CAF-FE5E-788FEF4BFF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5CA1DC7-0F89-BB7D-4856-C9A0451271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641A55F0-50AB-8A73-84FB-C8B71F70147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73266" y="4159577"/>
            <a:ext cx="12769469" cy="9791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6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Programme de la semaine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5D01213-5235-E4EE-5DDD-00C1129E94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037C1E40-66EF-1C75-CFA0-1BF7F13110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23C687E-9055-5979-2EEC-7B7FBE1E5CF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16532388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D26EA7-462D-C43A-9F07-ED4E12358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54917E2-7B11-EB88-0AF5-5F10224C35E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3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0591482F-C33D-2BF2-A6E4-D76C48BF1DE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79174"/>
            <a:ext cx="12954000" cy="889137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B13234C7-1B92-8C5D-0939-3A437A86C193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ctr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D2ACC2D9-6F4B-148B-BA4E-64A92990B16A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ctr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9802089F-EB4B-1103-F7FA-08E30DBF0C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1221" y="215597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9F1370A-3C49-0AA2-BC0F-7ECBE75888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81000" y="1202789"/>
            <a:ext cx="129540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de la semain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A6FBDA94-9A55-AA4A-70CC-B30F4794DF1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68946" y="2660253"/>
            <a:ext cx="5405315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srgbClr val="106584"/>
              </a:solidFill>
              <a:latin typeface="Calibri"/>
            </a:endParaRP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157D1591-2A7A-F913-EF24-F44780F10E4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6727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5958A974-6352-CF26-B135-C4EBE8F331C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9307" y="2356206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1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4" name="TextBox 10">
            <a:extLst>
              <a:ext uri="{FF2B5EF4-FFF2-40B4-BE49-F238E27FC236}">
                <a16:creationId xmlns:a16="http://schemas.microsoft.com/office/drawing/2014/main" id="{CF6F5EDA-2010-DE82-6861-37413D6195E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27076" y="2964116"/>
            <a:ext cx="518160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Vocabulaire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oute active du dialogue</a:t>
            </a: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E2D54C8-A8D0-C0DF-587F-8E92B28B778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79308" y="5154814"/>
            <a:ext cx="5398229" cy="1549301"/>
          </a:xfrm>
          <a:prstGeom prst="roundRect">
            <a:avLst/>
          </a:prstGeom>
          <a:solidFill>
            <a:srgbClr val="FDEADA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94367586-0F7C-1D58-72E0-A907A2E2204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79306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2" name="TextBox 10">
            <a:extLst>
              <a:ext uri="{FF2B5EF4-FFF2-40B4-BE49-F238E27FC236}">
                <a16:creationId xmlns:a16="http://schemas.microsoft.com/office/drawing/2014/main" id="{C8D8F739-8705-558E-14F2-0F607342DC94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9307" y="4907267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2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CB3056E3-C8B9-F253-13FB-F0E94E45DF4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27076" y="5329862"/>
            <a:ext cx="5138603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rgbClr val="106584"/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rgbClr val="106584"/>
                </a:solidFill>
                <a:latin typeface="Dosis" pitchFamily="2" charset="0"/>
              </a:rPr>
              <a:t>Acte de parole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rgbClr val="106584"/>
                </a:solidFill>
                <a:latin typeface="Dosis" pitchFamily="2" charset="0"/>
              </a:rPr>
              <a:t>Lecture</a:t>
            </a:r>
            <a:endParaRPr lang="fr-FR" sz="2400" b="1" dirty="0">
              <a:solidFill>
                <a:srgbClr val="106584"/>
              </a:solidFill>
              <a:latin typeface="Dosis" pitchFamily="2" charset="0"/>
            </a:endParaRP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EF6A7BB9-02C4-E499-7C22-CA0AA5E0338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79307" y="7428083"/>
            <a:ext cx="5421092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E7088AB2-F340-6AC3-995E-379617155FD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67270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E2A56A2D-497F-BE0F-2034-E12FBD7B19DB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98516" y="7578776"/>
            <a:ext cx="4462598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MA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riture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6C494A8F-181A-DF4D-982C-B5CD87D0C1B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118982" y="2660253"/>
            <a:ext cx="5521239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4D02EE39-3D3F-9C7E-7746-40970F43C90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11898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17921F4B-54C5-AAF9-9E82-E046EB86A5C1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118982" y="235700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4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1" name="TextBox 10">
            <a:extLst>
              <a:ext uri="{FF2B5EF4-FFF2-40B4-BE49-F238E27FC236}">
                <a16:creationId xmlns:a16="http://schemas.microsoft.com/office/drawing/2014/main" id="{817AEF75-A9F9-AF27-32AF-70479EF7BFBF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322351" y="2959118"/>
            <a:ext cx="505443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Lecture</a:t>
            </a:r>
            <a:endParaRPr lang="fr-FR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32" name="Rectangle : coins arrondis 31">
            <a:extLst>
              <a:ext uri="{FF2B5EF4-FFF2-40B4-BE49-F238E27FC236}">
                <a16:creationId xmlns:a16="http://schemas.microsoft.com/office/drawing/2014/main" id="{10D6DB2F-D74E-757C-5150-9C07C41D165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164437" y="5154814"/>
            <a:ext cx="552123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ctangle : coins arrondis 32">
            <a:extLst>
              <a:ext uri="{FF2B5EF4-FFF2-40B4-BE49-F238E27FC236}">
                <a16:creationId xmlns:a16="http://schemas.microsoft.com/office/drawing/2014/main" id="{B42C1C5E-E1D5-BCEE-2E40-496805D8A2F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7118982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4" name="TextBox 10">
            <a:extLst>
              <a:ext uri="{FF2B5EF4-FFF2-40B4-BE49-F238E27FC236}">
                <a16:creationId xmlns:a16="http://schemas.microsoft.com/office/drawing/2014/main" id="{B1661B79-F159-C036-4A43-4881CC26DF20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118982" y="490726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5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5" name="TextBox 10">
            <a:extLst>
              <a:ext uri="{FF2B5EF4-FFF2-40B4-BE49-F238E27FC236}">
                <a16:creationId xmlns:a16="http://schemas.microsoft.com/office/drawing/2014/main" id="{0BE592F4-404B-9350-A1A3-1943A53CEB8F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7382420" y="5333666"/>
            <a:ext cx="4994361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ppropriation de l'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riture</a:t>
            </a:r>
            <a:endParaRPr lang="fr-MA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36" name="Rectangle : coins arrondis 35">
            <a:extLst>
              <a:ext uri="{FF2B5EF4-FFF2-40B4-BE49-F238E27FC236}">
                <a16:creationId xmlns:a16="http://schemas.microsoft.com/office/drawing/2014/main" id="{49A775F8-78C6-3BB4-2D21-01DE5AF2AD5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7164437" y="7428082"/>
            <a:ext cx="552123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7" name="Rectangle : coins arrondis 36">
            <a:extLst>
              <a:ext uri="{FF2B5EF4-FFF2-40B4-BE49-F238E27FC236}">
                <a16:creationId xmlns:a16="http://schemas.microsoft.com/office/drawing/2014/main" id="{589764F6-37CA-963E-2EED-E12AD846861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118982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8" name="TextBox 10">
            <a:extLst>
              <a:ext uri="{FF2B5EF4-FFF2-40B4-BE49-F238E27FC236}">
                <a16:creationId xmlns:a16="http://schemas.microsoft.com/office/drawing/2014/main" id="{361575BF-65D0-716D-E24F-6310280C6CF2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7118982" y="7157231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6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9" name="TextBox 10">
            <a:extLst>
              <a:ext uri="{FF2B5EF4-FFF2-40B4-BE49-F238E27FC236}">
                <a16:creationId xmlns:a16="http://schemas.microsoft.com/office/drawing/2014/main" id="{E1162664-CD36-5CA8-4EBB-D33ACFA7041E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7382420" y="8021069"/>
            <a:ext cx="4616907" cy="395853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évision de la semain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7CCAA73-75BC-153F-62F2-C117C5FF911F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8794004" y="103890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6F5DDA-3373-F94C-6266-5693F1D011A1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879306" y="7182768"/>
            <a:ext cx="2076213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3026"/>
              </a:lnSpc>
              <a:defRPr/>
            </a:pPr>
            <a:r>
              <a:rPr lang="en-US" sz="2801" dirty="0">
                <a:solidFill>
                  <a:srgbClr val="8DC63F"/>
                </a:solidFill>
                <a:latin typeface="Dosis" pitchFamily="2" charset="0"/>
              </a:rPr>
              <a:t>   </a:t>
            </a: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3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63251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C2D792-9661-6DE2-F93A-CE24F2471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AB37AE72-DC16-3C78-995C-4740D41AEB3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189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4291967E-5785-70E4-C0C7-61B2213E227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58002"/>
            <a:ext cx="12954000" cy="8875604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5846EB5E-0791-9E8A-8414-9D2BA4FB24EE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54538ACF-B9E6-7444-3F8C-7FA6C4BFC867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32F5C805-999C-9E73-E861-0A7A637618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5454" y="246774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0DA22D1-6F2D-80F8-E798-214474E162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50689" y="109221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E74FF86-0289-553A-32AE-8779741EB24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001" y="1631585"/>
            <a:ext cx="12954000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tenus de la semaine 4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5648007A-1E11-D59F-CB7A-57C00E46890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77843" y="2950043"/>
            <a:ext cx="3787468" cy="53573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932BC120-F00A-407C-2405-954EF4B1C29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68076" y="2957663"/>
            <a:ext cx="3779848" cy="53497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369D95D9-1B4A-DD30-CF9E-D2CB1975153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50689" y="2953853"/>
            <a:ext cx="3787468" cy="53497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035587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E3607C-46CE-B412-9374-10EDE2E67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EF6C34B-343B-5FE9-418E-502C8F28BA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8125F813-5C32-E481-CDFA-D7C98402340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5630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Révision des syllabes - 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C’est quel jour, aujourd’hui ?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Aujourd'hui, c’est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3. Lecture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econnaître la lettre p en minuscule et en majuscule.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Lire la lettre p. 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4EE29260-58D4-CD76-984F-6EC678B29B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CFF5CB8B-3D1A-4336-0186-2679B0616C2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1A94D9E-C903-BDB3-757C-F19CB4192D4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3021680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8D4B78C5-36D0-DFAD-C71A-4ED4A898EF6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2</a:t>
            </a:r>
          </a:p>
        </p:txBody>
      </p:sp>
    </p:spTree>
    <p:extLst>
      <p:ext uri="{BB962C8B-B14F-4D97-AF65-F5344CB8AC3E}">
        <p14:creationId xmlns:p14="http://schemas.microsoft.com/office/powerpoint/2010/main" val="13305119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42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s des rituels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C1D261BA-3ABE-2DE1-E789-F4046D0C83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736257"/>
            <a:ext cx="111154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395C32B6-3F71-2033-BA88-FCA970C59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825285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444E5172-1FEC-C726-0EF2-92DE9D6F9BD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702599" y="5749003"/>
            <a:ext cx="5709984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viser des mots du vocabulaire. 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B6CF2F32-CD60-B83B-E47B-2BBFF6B8E015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788925" y="5653523"/>
            <a:ext cx="504425" cy="549067"/>
          </a:xfrm>
          <a:prstGeom prst="rect">
            <a:avLst/>
          </a:prstGeom>
        </p:spPr>
      </p:pic>
      <p:sp>
        <p:nvSpPr>
          <p:cNvPr id="10" name="TextBox 10">
            <a:extLst>
              <a:ext uri="{FF2B5EF4-FFF2-40B4-BE49-F238E27FC236}">
                <a16:creationId xmlns:a16="http://schemas.microsoft.com/office/drawing/2014/main" id="{EF196A93-E68D-1372-8AE7-C3B1CFBDEE2F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702599" y="4800541"/>
            <a:ext cx="5709984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viser des </a:t>
            </a:r>
            <a:r>
              <a:rPr lang="fr-FR" sz="28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syllabe</a:t>
            </a: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 étudiées. 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2C75F036-BA9D-7899-1EE8-CECE1BF402A2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788925" y="4705061"/>
            <a:ext cx="504425" cy="54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2551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2BF15-BB8E-989A-E985-B85960309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EF208EB-CBC0-D417-8786-FCDD4B590EA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09CB912-DCEA-98D8-0632-D26B8638023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71B6C95-808C-274D-88CD-53626543F258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67803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C6AC0830-E62D-97D2-A32A-6FDEE5945A34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469B0D59-FCFA-73A1-A5F7-BB29DECD18D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BBD8E0A-9302-BA3F-35EF-51D7975A006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E013A098-CA5F-A92B-10C3-E6DD7614B986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6D0B8788-CC1A-A112-6526-1B40637EC622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DEA6562E-F05C-00F7-13C2-2F5E359BE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41786" y="77988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9926730-19A1-3596-B730-AE339E499EB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74975" y="687484"/>
            <a:ext cx="120760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onjour les enfants. Nous allons commencer une nouvelle leçon de français.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E388BA8-E9EE-DE41-DCA3-773498CEA85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4466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C6645B-3940-A0D3-D68D-66E32F0269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8">
            <a:extLst>
              <a:ext uri="{FF2B5EF4-FFF2-40B4-BE49-F238E27FC236}">
                <a16:creationId xmlns:a16="http://schemas.microsoft.com/office/drawing/2014/main" id="{44EAEBCF-3EE1-818F-6B6D-4B7D398ECD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32815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36F0B280-1108-6CFC-E5BD-6B5150B7515C}"/>
              </a:ext>
            </a:extLst>
          </p:cNvPr>
          <p:cNvSpPr txBox="1"/>
          <p:nvPr/>
        </p:nvSpPr>
        <p:spPr>
          <a:xfrm>
            <a:off x="371475" y="4701570"/>
            <a:ext cx="12973049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  <a:defRPr/>
            </a:pPr>
            <a:r>
              <a:rPr lang="fr-MA" sz="7200" b="1" dirty="0">
                <a:solidFill>
                  <a:srgbClr val="106584"/>
                </a:solidFill>
                <a:latin typeface="KG Primary Penmanship 2" panose="020B0604020202020204" charset="0"/>
              </a:rPr>
              <a:t>la   li   lu   mo   me   mou</a:t>
            </a:r>
          </a:p>
          <a:p>
            <a:pPr algn="ctr">
              <a:lnSpc>
                <a:spcPct val="150000"/>
              </a:lnSpc>
              <a:spcAft>
                <a:spcPts val="600"/>
              </a:spcAft>
              <a:defRPr/>
            </a:pPr>
            <a:r>
              <a:rPr lang="fr-MA" sz="72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és</a:t>
            </a:r>
            <a:r>
              <a:rPr lang="fr-MA" sz="7200" b="1" dirty="0">
                <a:solidFill>
                  <a:srgbClr val="106584"/>
                </a:solidFill>
                <a:latin typeface="KG Primary Penmanship 2" panose="020B0604020202020204" charset="0"/>
              </a:rPr>
              <a:t>   os   as   </a:t>
            </a:r>
            <a:r>
              <a:rPr lang="fr-MA" sz="72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is</a:t>
            </a:r>
            <a:r>
              <a:rPr lang="fr-MA" sz="7200" b="1" dirty="0">
                <a:solidFill>
                  <a:srgbClr val="106584"/>
                </a:solidFill>
                <a:latin typeface="KG Primary Penmanship 2" panose="020B0604020202020204" charset="0"/>
              </a:rPr>
              <a:t>   </a:t>
            </a:r>
            <a:r>
              <a:rPr lang="fr-MA" sz="72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ous</a:t>
            </a:r>
            <a:r>
              <a:rPr lang="fr-MA" sz="7200" b="1" dirty="0">
                <a:solidFill>
                  <a:srgbClr val="106584"/>
                </a:solidFill>
                <a:latin typeface="KG Primary Penmanship 2" panose="020B0604020202020204" charset="0"/>
              </a:rPr>
              <a:t>   u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0F56615-F0A3-DA15-4887-043D291F289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75185" y="69241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us allons lire des syllabes. Répétez après moi. 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C3FB546-481D-4BEC-08F1-E2FD4B4B56A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160812" y="651587"/>
            <a:ext cx="1747521" cy="1466991"/>
          </a:xfrm>
          <a:prstGeom prst="rect">
            <a:avLst/>
          </a:prstGeom>
        </p:spPr>
      </p:pic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9AC3F88E-8213-23A3-A071-B553ABC68FC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88193120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21339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8380" y="3592489"/>
            <a:ext cx="12799240" cy="14773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spcAft>
                <a:spcPts val="1800"/>
              </a:spcAft>
              <a:defRPr/>
            </a:pPr>
            <a:r>
              <a:rPr lang="fr-FR" sz="5400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</a:t>
            </a:r>
            <a:r>
              <a:rPr lang="fr-FR" sz="4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Ce support est optimisé pour un visionnage en mode diaporama sur un écran d’ordinateur. </a:t>
            </a:r>
            <a:endParaRPr lang="ar-MA" sz="54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C9A77FA-585D-127F-845B-8EBC71313FA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77748" y="1237915"/>
            <a:ext cx="2360504" cy="205878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FA3FF9E-96AB-CA64-0E5A-B49A3A31BB7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/>
          <a:srcRect t="3549" r="25825"/>
          <a:stretch/>
        </p:blipFill>
        <p:spPr>
          <a:xfrm>
            <a:off x="2569153" y="5661395"/>
            <a:ext cx="8969576" cy="1454457"/>
          </a:xfrm>
          <a:prstGeom prst="roundRect">
            <a:avLst/>
          </a:prstGeom>
          <a:ln>
            <a:solidFill>
              <a:schemeClr val="accent5">
                <a:lumMod val="50000"/>
              </a:schemeClr>
            </a:solidFill>
          </a:ln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31DAD90C-01DC-919D-FDFB-9AC4E695309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373218" y="5739229"/>
            <a:ext cx="1363695" cy="129878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4050" dirty="0"/>
          </a:p>
        </p:txBody>
      </p:sp>
    </p:spTree>
    <p:extLst>
      <p:ext uri="{BB962C8B-B14F-4D97-AF65-F5344CB8AC3E}">
        <p14:creationId xmlns:p14="http://schemas.microsoft.com/office/powerpoint/2010/main" val="26029975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0C0B1-D345-6C29-1C43-37F054ADC4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8">
            <a:extLst>
              <a:ext uri="{FF2B5EF4-FFF2-40B4-BE49-F238E27FC236}">
                <a16:creationId xmlns:a16="http://schemas.microsoft.com/office/drawing/2014/main" id="{96934715-40ED-3476-7208-8C2010A728B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32815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E819120-4D89-9F83-5E1F-90812464280A}"/>
              </a:ext>
            </a:extLst>
          </p:cNvPr>
          <p:cNvSpPr txBox="1"/>
          <p:nvPr/>
        </p:nvSpPr>
        <p:spPr>
          <a:xfrm>
            <a:off x="371475" y="4701570"/>
            <a:ext cx="12973049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  <a:defRPr/>
            </a:pPr>
            <a:r>
              <a:rPr lang="fr-MA" sz="7200" b="1" dirty="0">
                <a:solidFill>
                  <a:srgbClr val="106584"/>
                </a:solidFill>
                <a:latin typeface="KG Primary Penmanship 2" panose="020B0604020202020204" charset="0"/>
              </a:rPr>
              <a:t>la   li   lu   mo   me   mou</a:t>
            </a:r>
          </a:p>
          <a:p>
            <a:pPr algn="ctr">
              <a:lnSpc>
                <a:spcPct val="150000"/>
              </a:lnSpc>
              <a:spcAft>
                <a:spcPts val="600"/>
              </a:spcAft>
              <a:defRPr/>
            </a:pPr>
            <a:r>
              <a:rPr lang="fr-MA" sz="72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és</a:t>
            </a:r>
            <a:r>
              <a:rPr lang="fr-MA" sz="7200" b="1" dirty="0">
                <a:solidFill>
                  <a:srgbClr val="106584"/>
                </a:solidFill>
                <a:latin typeface="KG Primary Penmanship 2" panose="020B0604020202020204" charset="0"/>
              </a:rPr>
              <a:t>   os   as   </a:t>
            </a:r>
            <a:r>
              <a:rPr lang="fr-MA" sz="72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is</a:t>
            </a:r>
            <a:r>
              <a:rPr lang="fr-MA" sz="7200" b="1" dirty="0">
                <a:solidFill>
                  <a:srgbClr val="106584"/>
                </a:solidFill>
                <a:latin typeface="KG Primary Penmanship 2" panose="020B0604020202020204" charset="0"/>
              </a:rPr>
              <a:t>   </a:t>
            </a:r>
            <a:r>
              <a:rPr lang="fr-MA" sz="72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ous</a:t>
            </a:r>
            <a:r>
              <a:rPr lang="fr-MA" sz="7200" b="1" dirty="0">
                <a:solidFill>
                  <a:srgbClr val="106584"/>
                </a:solidFill>
                <a:latin typeface="KG Primary Penmanship 2" panose="020B0604020202020204" charset="0"/>
              </a:rPr>
              <a:t>   us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95086AE-01C4-E692-7041-4330BFEF8C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73641" y="589043"/>
            <a:ext cx="100448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chaque syllabe, je vais désigner un élève pour lire la syllabe.</a:t>
            </a:r>
          </a:p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quelle syllabe ? 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00120B77-5BC6-7371-DCD1-6DB14C82D56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412611" y="464582"/>
            <a:ext cx="1894143" cy="1263383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556A797C-F868-B1BE-1D08-AF4012F4618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18459766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79755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8B1650-B926-F20F-501A-40C2FE7461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A270F56E-3FAC-CED2-43D3-DE0B697DF84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382281BD-DA72-7C80-5466-D98EED30645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34189" y="694649"/>
            <a:ext cx="120725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Maintenant, nous allons réécouter une chanson pour apprendre « les jours de la semaine».</a:t>
            </a:r>
            <a:endParaRPr lang="fr-FR" sz="2400" b="1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71D7B98-237E-C631-12BF-832C32AC8A1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0839" y="2437319"/>
            <a:ext cx="7799286" cy="5513748"/>
          </a:xfrm>
          <a:prstGeom prst="rect">
            <a:avLst/>
          </a:prstGeom>
        </p:spPr>
      </p:pic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550C3EE3-C944-C6B6-5A0F-894C165830BA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18459766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45284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E157D5-32EA-FCE4-92A4-2501156C21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678F792E-5138-CBBE-D86F-402FC665353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11014168" y="766016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E197B5B4-CABC-0C5F-7F92-F107080121B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34189" y="694649"/>
            <a:ext cx="120725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i="1" dirty="0">
                <a:solidFill>
                  <a:srgbClr val="A6A6A6"/>
                </a:solidFill>
                <a:latin typeface="Calibri"/>
              </a:rPr>
              <a:t>Diffusion automatique </a:t>
            </a:r>
            <a:endParaRPr lang="fr-FR" sz="2400" b="1" i="1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3" name="03. La chanson des jours de la semaine">
            <a:hlinkClick r:id="" action="ppaction://media"/>
            <a:extLst>
              <a:ext uri="{FF2B5EF4-FFF2-40B4-BE49-F238E27FC236}">
                <a16:creationId xmlns:a16="http://schemas.microsoft.com/office/drawing/2014/main" id="{23DF99BA-F2A1-DDAF-4397-B6BC51658D4F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4">
                  <p14:trim end="62783.1191"/>
                </p14:media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1981200" y="2400300"/>
            <a:ext cx="9753600" cy="5486400"/>
          </a:xfrm>
          <a:prstGeom prst="rect">
            <a:avLst/>
          </a:prstGeom>
        </p:spPr>
      </p:pic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A53EF0D6-1F89-73F7-1372-072E65B8CEF8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818459766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12346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976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7A3C5E-1BAB-11B3-4061-74DBEB183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CDA7D402-1A06-4343-FB29-449DE7EAEBF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85800" y="723902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722682D-0A10-1AA3-9526-246C616EE53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75185" y="635263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us allons réviser les jours de la semaine. Répétez après moi. 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844D2E3-07EB-57C0-F62A-F632730AA92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160812" y="651587"/>
            <a:ext cx="1747521" cy="1466991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D7D46B24-BF2C-C556-CA96-D76ABFD9EA8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18895" y="3910227"/>
            <a:ext cx="8678210" cy="1208520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41D94512-E71A-BB44-21C3-17C1509BEEE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81452" y="5726637"/>
            <a:ext cx="12046638" cy="1144236"/>
          </a:xfrm>
          <a:prstGeom prst="rect">
            <a:avLst/>
          </a:prstGeom>
        </p:spPr>
      </p:pic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F6A9113D-262B-29CD-0121-8D2E8C1B744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18459766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76496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49EBF-02E7-DF35-C8D5-D69727A04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55A9E35D-598B-2412-5921-A19D1976CD2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3A92671D-ECD8-96EC-A86E-94F4CCF99BA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5630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évision des lettres - 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C’est quel jour, aujourd’hui ?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Aujourd'hui, c’est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3. Lecture</a:t>
            </a:r>
            <a:endParaRPr lang="fr-FR" sz="4200" b="1" dirty="0">
              <a:solidFill>
                <a:schemeClr val="bg1">
                  <a:lumMod val="65000"/>
                </a:schemeClr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econnaître la lettre s en minuscule et en majuscule.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Lire la lettre s. 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65A2F269-8203-AE2A-2593-DD963AF166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23EFBED-2F38-6CF5-0E88-370C2E0786A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83439FE-AC15-5FD8-D1B6-4B9C89ECCE8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4764764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3855B124-D0A7-4F85-61DC-C9828EBEBB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2</a:t>
            </a:r>
          </a:p>
        </p:txBody>
      </p:sp>
    </p:spTree>
    <p:extLst>
      <p:ext uri="{BB962C8B-B14F-4D97-AF65-F5344CB8AC3E}">
        <p14:creationId xmlns:p14="http://schemas.microsoft.com/office/powerpoint/2010/main" val="21496695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-3810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4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733455"/>
            <a:ext cx="12954000" cy="8765811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6222" y="13625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747428" y="1822448"/>
            <a:ext cx="50292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r>
              <a:rPr lang="fr-FR" sz="3200" dirty="0">
                <a:solidFill>
                  <a:srgbClr val="106585"/>
                </a:solidFill>
                <a:latin typeface="Carelia"/>
              </a:rPr>
              <a:t>Objectifs de l’activité 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7C03ED0A-C5B0-D998-5D5C-0C9D119281B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1638" y="3335592"/>
            <a:ext cx="11752727" cy="4200876"/>
            <a:chOff x="1021947" y="3100970"/>
            <a:chExt cx="11752727" cy="3654320"/>
          </a:xfrm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C1D261BA-3ABE-2DE1-E789-F4046D0C8328}"/>
                </a:ext>
              </a:extLst>
            </p:cNvPr>
            <p:cNvSpPr/>
            <p:nvPr/>
          </p:nvSpPr>
          <p:spPr>
            <a:xfrm rot="10800000" flipH="1">
              <a:off x="1021947" y="3100970"/>
              <a:ext cx="11752727" cy="3654320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95C32B6-3F71-2033-BA88-FCA970C59DCF}"/>
                </a:ext>
              </a:extLst>
            </p:cNvPr>
            <p:cNvSpPr/>
            <p:nvPr/>
          </p:nvSpPr>
          <p:spPr>
            <a:xfrm>
              <a:off x="1255693" y="3189998"/>
              <a:ext cx="706508" cy="3565292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 l="-109199" t="-6937" r="-896458" b="-829367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pic>
        <p:nvPicPr>
          <p:cNvPr id="19" name="Image 18">
            <a:extLst>
              <a:ext uri="{FF2B5EF4-FFF2-40B4-BE49-F238E27FC236}">
                <a16:creationId xmlns:a16="http://schemas.microsoft.com/office/drawing/2014/main" id="{CCC5F9BE-BCEA-3D50-20D4-F48CE3775C7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480252" y="3990665"/>
            <a:ext cx="504425" cy="549068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49151" y="33334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Dosis"/>
              </a:rPr>
              <a:t>Pour l’enseignant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507530" y="4010714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S’approprier l’acte de parole : 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979022" y="4670110"/>
            <a:ext cx="8678662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90">
              <a:defRPr/>
            </a:pPr>
            <a:r>
              <a:rPr lang="fr-FR" sz="3200" b="1" kern="100" dirty="0">
                <a:solidFill>
                  <a:srgbClr val="106585"/>
                </a:solidFill>
                <a:latin typeface="Dosis" pitchFamily="2" charset="0"/>
                <a:cs typeface="Arial" panose="020B0604020202020204" pitchFamily="34" charset="0"/>
              </a:rPr>
              <a:t>C’est quel jour, aujourd’hui ?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A7C75934-EA09-FAF7-A0F8-3A93E9B0AD9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525597" y="5880388"/>
            <a:ext cx="504425" cy="549068"/>
          </a:xfrm>
          <a:prstGeom prst="rect">
            <a:avLst/>
          </a:prstGeom>
        </p:spPr>
      </p:pic>
      <p:sp>
        <p:nvSpPr>
          <p:cNvPr id="15" name="TextBox 10">
            <a:extLst>
              <a:ext uri="{FF2B5EF4-FFF2-40B4-BE49-F238E27FC236}">
                <a16:creationId xmlns:a16="http://schemas.microsoft.com/office/drawing/2014/main" id="{940A627E-03E1-78D4-52F2-DAEFE422D83B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52875" y="5914725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Utiliser des outils de langue : </a:t>
            </a:r>
          </a:p>
        </p:txBody>
      </p:sp>
      <p:sp>
        <p:nvSpPr>
          <p:cNvPr id="16" name="TextBox 10">
            <a:extLst>
              <a:ext uri="{FF2B5EF4-FFF2-40B4-BE49-F238E27FC236}">
                <a16:creationId xmlns:a16="http://schemas.microsoft.com/office/drawing/2014/main" id="{2DA6B2EC-A123-8022-FC7A-ECF860402227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979022" y="6548500"/>
            <a:ext cx="8443805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90">
              <a:defRPr/>
            </a:pPr>
            <a:r>
              <a:rPr lang="fr-FR" sz="3200" b="1" kern="100" dirty="0">
                <a:solidFill>
                  <a:srgbClr val="106585"/>
                </a:solidFill>
                <a:latin typeface="Dosis" pitchFamily="2" charset="0"/>
                <a:cs typeface="Arial" panose="020B0604020202020204" pitchFamily="34" charset="0"/>
              </a:rPr>
              <a:t>Aujourd'hui, c’est … .</a:t>
            </a:r>
          </a:p>
        </p:txBody>
      </p:sp>
    </p:spTree>
    <p:extLst>
      <p:ext uri="{BB962C8B-B14F-4D97-AF65-F5344CB8AC3E}">
        <p14:creationId xmlns:p14="http://schemas.microsoft.com/office/powerpoint/2010/main" val="40858604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7090A0-7D28-47D0-1F6A-F1A39FB74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CFA31FF5-C238-7475-BC79-76F7A218C27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3AFA753-72CA-A6C7-66D8-E77E01387C5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C15B48-76C1-A575-2ABA-FB0346CDA36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0B30047-A737-2A1A-EA43-9D116ED4ACB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EA3F7DD1-8DED-332C-1DC9-E1FC0BB1CF3F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2F8979D-0E93-36C0-25C6-3EF542CABB66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C85368F-2B3B-F547-D27F-932F6F927D6D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064A59E-82F4-40B8-DC7C-C2F5E6033F01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FB101090-FFFF-110A-367C-B3258319D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EF862B41-83E7-A96B-363F-062037AA719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98559" y="543874"/>
            <a:ext cx="1427019" cy="1575467"/>
          </a:xfrm>
          <a:prstGeom prst="rect">
            <a:avLst/>
          </a:prstGeom>
        </p:spPr>
      </p:pic>
      <p:pic>
        <p:nvPicPr>
          <p:cNvPr id="12" name="Image 11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049EC1EF-3605-645B-E8B8-3BFB4248614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941307" y="3540171"/>
            <a:ext cx="3357580" cy="567954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DD43DE0-764A-DDE1-1DD9-CB519E93E7A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/>
          <a:stretch>
            <a:fillRect/>
          </a:stretch>
        </p:blipFill>
        <p:spPr>
          <a:xfrm flipH="1">
            <a:off x="6857982" y="4203739"/>
            <a:ext cx="3657617" cy="4663472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D2E21719-7314-20EB-019B-2CF23B56296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371600" y="636631"/>
            <a:ext cx="12409713" cy="5582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45" rtl="0" eaLnBrk="1" fontAlgn="auto" latinLnBrk="0" hangingPunct="1">
              <a:lnSpc>
                <a:spcPts val="4022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Nous allons réécouter le dialogue entre Karim et Rita.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F78C043C-12B3-BD6D-9C88-EF36185D4557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7218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7D1722-C290-4661-6AD5-91378327A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3378D54-466B-7047-1ED3-B6EEF7246B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554FC8F-BF57-7EDA-765A-1E01ED3566B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F4C7D0-B4C5-D536-1A45-FBD68B1AAE5D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43F03C1-1AE8-2B27-0269-CC0CA6BD5AF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D5DEF50B-103C-A37A-D5FD-FB3269DE9E75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B836A91-7D47-E88B-7FF0-15DB407CF03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555EF3C-0FF0-7D8C-8750-FD0BF2FA32D6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0B2BD6D-388B-7284-B186-9D3827E94CA3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511AE82C-208F-6491-6223-DD244B737B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677" y="749000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Première écoute (diffusion automatique)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69A0AAA-BCE5-3E93-CD8D-671C2DEE02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A579F755-D4CD-6115-AEB8-A3E83E4C1F1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6E2B17C-EF5C-8A87-4628-79F049F874B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7C1628FE-5BCA-20D5-B632-4BD71C0203D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BF6AE098-EA26-E8C4-15C7-99461030571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6" name="Parcours_1_Pd2_S4_s1_Dialogue">
            <a:hlinkClick r:id="" action="ppaction://media"/>
            <a:extLst>
              <a:ext uri="{FF2B5EF4-FFF2-40B4-BE49-F238E27FC236}">
                <a16:creationId xmlns:a16="http://schemas.microsoft.com/office/drawing/2014/main" id="{502E911E-63AA-3CD6-C052-1C2A35BED81B}"/>
              </a:ext>
            </a:extLst>
          </p:cNvPr>
          <p:cNvPicPr>
            <a:picLocks noChangeAspect="1"/>
          </p:cNvPicPr>
          <p:nvPr>
            <a:audioFile r:link="rId9"/>
            <p:extLst>
              <p:ext uri="{DAA4B4D4-6D71-4841-9C94-3DE7FCFB9230}">
                <p14:media xmlns:p14="http://schemas.microsoft.com/office/powerpoint/2010/main" r:embed="rId8"/>
              </p:ext>
            </p:extLst>
          </p:nvPr>
        </p:nvPicPr>
        <p:blipFill>
          <a:blip r:embed="rId19"/>
          <a:stretch>
            <a:fillRect/>
          </a:stretch>
        </p:blipFill>
        <p:spPr>
          <a:xfrm>
            <a:off x="9986765" y="830084"/>
            <a:ext cx="487363" cy="487363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7B8A5E58-273F-21D6-7498-93D0316A8754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4108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298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11" dur="3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3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4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10750"/>
                                  </p:stCondLst>
                                  <p:childTnLst>
                                    <p:set>
                                      <p:cBhvr>
                                        <p:cTn id="17" dur="4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4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4750"/>
                                  </p:stCondLst>
                                  <p:childTnLst>
                                    <p:set>
                                      <p:cBhvr>
                                        <p:cTn id="20" dur="37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37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8750"/>
                                  </p:stCondLst>
                                  <p:childTnLst>
                                    <p:set>
                                      <p:cBhvr>
                                        <p:cTn id="23" dur="2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2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1411D-AB82-CD69-C19B-64D5996D92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D6E08C70-B353-4F1F-1116-B258C0FB4AD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B12CBCC-4844-A2FE-8F59-6519CC2E3C3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1C1B0D0-9CE2-FD84-FE3A-E886E06A52B6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85CA2F3C-2733-5181-9207-C0A1659840BB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E28CF3B-86F1-684B-B385-11E508F9C4A0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004358B-0C52-BD46-7078-1F19101DB9A0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BA498E2-3ECF-694D-15D6-5772676A9564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71B49946-561D-B446-727B-F40E06CA7B7A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0F08B29D-CBF2-D3A4-2118-B69C6D7A2D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316A457-0875-5003-0735-2C503C88F46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2" y="736196"/>
            <a:ext cx="109052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diffuser le dialogue une deuxième fois. Écoutez attentivement. </a:t>
            </a:r>
          </a:p>
        </p:txBody>
      </p:sp>
      <p:pic>
        <p:nvPicPr>
          <p:cNvPr id="13" name="Image 12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BF74A406-552F-902E-71AD-3F309E37B3A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7082" y="2965052"/>
            <a:ext cx="4368191" cy="4356896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AEF74FAF-1DF7-49B9-CFF0-3D9ECB64194A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34850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7D1722-C290-4661-6AD5-91378327A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3378D54-466B-7047-1ED3-B6EEF7246B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554FC8F-BF57-7EDA-765A-1E01ED3566B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F4C7D0-B4C5-D536-1A45-FBD68B1AAE5D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43F03C1-1AE8-2B27-0269-CC0CA6BD5AF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D5DEF50B-103C-A37A-D5FD-FB3269DE9E75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B836A91-7D47-E88B-7FF0-15DB407CF03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555EF3C-0FF0-7D8C-8750-FD0BF2FA32D6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0B2BD6D-388B-7284-B186-9D3827E94CA3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511AE82C-208F-6491-6223-DD244B737B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677" y="749000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MA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Deuxième</a:t>
            </a: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 écoute (diffusion automatique)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69A0AAA-BCE5-3E93-CD8D-671C2DEE02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A579F755-D4CD-6115-AEB8-A3E83E4C1F1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6E2B17C-EF5C-8A87-4628-79F049F874B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7C1628FE-5BCA-20D5-B632-4BD71C0203D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BF6AE098-EA26-E8C4-15C7-99461030571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6" name="Parcours_1_Pd2_S4_s1_Dialogue">
            <a:hlinkClick r:id="" action="ppaction://media"/>
            <a:extLst>
              <a:ext uri="{FF2B5EF4-FFF2-40B4-BE49-F238E27FC236}">
                <a16:creationId xmlns:a16="http://schemas.microsoft.com/office/drawing/2014/main" id="{502E911E-63AA-3CD6-C052-1C2A35BED81B}"/>
              </a:ext>
            </a:extLst>
          </p:cNvPr>
          <p:cNvPicPr>
            <a:picLocks noChangeAspect="1"/>
          </p:cNvPicPr>
          <p:nvPr>
            <a:audioFile r:link="rId9"/>
            <p:extLst>
              <p:ext uri="{DAA4B4D4-6D71-4841-9C94-3DE7FCFB9230}">
                <p14:media xmlns:p14="http://schemas.microsoft.com/office/powerpoint/2010/main" r:embed="rId8"/>
              </p:ext>
            </p:extLst>
          </p:nvPr>
        </p:nvPicPr>
        <p:blipFill>
          <a:blip r:embed="rId19"/>
          <a:stretch>
            <a:fillRect/>
          </a:stretch>
        </p:blipFill>
        <p:spPr>
          <a:xfrm>
            <a:off x="9986765" y="830084"/>
            <a:ext cx="487363" cy="487363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7B8A5E58-273F-21D6-7498-93D0316A8754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42902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298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11" dur="3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3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4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10750"/>
                                  </p:stCondLst>
                                  <p:childTnLst>
                                    <p:set>
                                      <p:cBhvr>
                                        <p:cTn id="17" dur="4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4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4750"/>
                                  </p:stCondLst>
                                  <p:childTnLst>
                                    <p:set>
                                      <p:cBhvr>
                                        <p:cTn id="20" dur="37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37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8750"/>
                                  </p:stCondLst>
                                  <p:childTnLst>
                                    <p:set>
                                      <p:cBhvr>
                                        <p:cTn id="23" dur="2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2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85802" y="4168131"/>
            <a:ext cx="12769469" cy="10515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7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Orientations générales</a:t>
            </a:r>
            <a:endParaRPr lang="ar-MA" sz="72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32901161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3730EA-CD15-9A0E-BE35-95D47268D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9CA4D3DE-AC87-C50E-7F65-371B8EAEAB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45A9D4-2310-7B50-0B98-6DDE30D4A3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ta dit « C’est quel jour, aujourd’hui ?».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6C929804-FA2B-280B-BD00-9FE53FB8A6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879080" y="2044085"/>
            <a:ext cx="4393883" cy="1530104"/>
          </a:xfrm>
          <a:prstGeom prst="wedgeEllipseCallout">
            <a:avLst>
              <a:gd name="adj1" fmla="val -11060"/>
              <a:gd name="adj2" fmla="val 873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’est quel jour, aujourd’hui ?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001D892-B50C-8243-1D34-46C207D30E4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3" name="Image 12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9E509B7A-9078-69E8-783E-7BF54893B4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23285" y="4176583"/>
            <a:ext cx="3096699" cy="5238245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EB0130CA-4C29-8986-7648-89FCD85D4D6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flipH="1">
            <a:off x="7879080" y="4781405"/>
            <a:ext cx="3357579" cy="4280923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C560C1FF-779F-537E-F07F-090D793E169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4B6A70F7-7185-E9D7-FAF0-E144AF0B32C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045654" y="6016068"/>
            <a:ext cx="1932860" cy="1796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27839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CE3DE1-94F4-19B5-D541-0D1F79EC9D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F78E64E-FBCD-E09C-34A8-11702C7A1E6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216A4255-CB2A-DA21-17C7-AA8215FC5CF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8120AEA-AE59-1682-FAF9-80E06C07B2D8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1E23195D-80DB-C2CC-1747-C443046DA20A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C5EFC3C0-1283-20FC-74AD-10A187004D58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264BF303-798C-2359-68ED-59C2D4488AB7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8EAAEB22-8331-48FD-911A-7735DB47F8BA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54E643E5-98C9-BE4D-FD8B-CD2345F5055E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54940E9B-C322-0955-0EB5-982731D078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75158" y="813735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1F2ED714-10B7-17A7-7992-DA1D833B8D1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55984" y="697808"/>
            <a:ext cx="10001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 signifie « C’est quel jour, aujourd’hui ?» en arabe ? 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DB31AE1-1502-4BF7-F7DA-45970DCE082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1099197" y="574565"/>
            <a:ext cx="1828959" cy="1268078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4143134A-CEF4-4D47-AAF0-7A034FAC42DE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16" name="Bulle narrative : ronde 15">
            <a:extLst>
              <a:ext uri="{FF2B5EF4-FFF2-40B4-BE49-F238E27FC236}">
                <a16:creationId xmlns:a16="http://schemas.microsoft.com/office/drawing/2014/main" id="{48EB73B5-84E8-DAEE-8C6E-1CD427A454C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879080" y="2044085"/>
            <a:ext cx="4393883" cy="1530104"/>
          </a:xfrm>
          <a:prstGeom prst="wedgeEllipseCallout">
            <a:avLst>
              <a:gd name="adj1" fmla="val -11060"/>
              <a:gd name="adj2" fmla="val 873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’est quel jour, aujourd’hui ?</a:t>
            </a:r>
          </a:p>
        </p:txBody>
      </p:sp>
      <p:pic>
        <p:nvPicPr>
          <p:cNvPr id="18" name="Image 17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BBC57172-68B5-F947-C59C-F4BB1081C209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23285" y="4176583"/>
            <a:ext cx="3096699" cy="5238245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DF4D3E79-73A6-01E0-C947-6A5BE3D395C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flipH="1">
            <a:off x="7879080" y="4781405"/>
            <a:ext cx="3357579" cy="4280923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6DDE0BD1-9A4D-4980-8645-C82B051F3046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045654" y="6016068"/>
            <a:ext cx="1932860" cy="1796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9035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34C78-42CE-330F-F19F-52CD1224FC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7B406E8-8902-D2AA-CEB7-8BA51441AB2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819FBFCA-DDBF-5B27-3A2C-65CF442855D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62D902D-F7DF-CA8E-6B40-F3C21443A1FE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6B49B497-D8E8-5246-4E51-0DEAA70E8680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CB1C9F6E-8264-4D60-46DE-AF01FB470447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BD75CC9-A902-BF8E-A57B-9BF5FA2E442C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0B07DF92-25DE-20C5-DDA7-7DE32CAB7884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CE8E11FA-EED0-7F05-52C7-E0E731F451D5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2F12646D-5002-4693-FC09-9A63A2B5B8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6CC67D3-4D93-73C2-F782-B3D52B0BE18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arim dit « Aujourd’hui, c’est lundi. »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A016CF70-C73E-A1EF-1C5F-D6161C23357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700337" y="2095960"/>
            <a:ext cx="3914775" cy="1530104"/>
          </a:xfrm>
          <a:prstGeom prst="wedgeEllipseCallout">
            <a:avLst>
              <a:gd name="adj1" fmla="val 21469"/>
              <a:gd name="adj2" fmla="val 7476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jourd’hui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c’est lundi.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4C86049-85D0-EEC9-CF5F-CDDCDD1AF01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56246705-90A0-9E0E-B0A5-66CB81D4A25A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8" name="Image 17">
            <a:extLst>
              <a:ext uri="{FF2B5EF4-FFF2-40B4-BE49-F238E27FC236}">
                <a16:creationId xmlns:a16="http://schemas.microsoft.com/office/drawing/2014/main" id="{CB289F65-5ABA-31CC-FA13-AEEE7D8EB7B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flipH="1">
            <a:off x="7879080" y="4781405"/>
            <a:ext cx="3357579" cy="4280923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279848A0-AE6E-32AD-13A2-CB30822802B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543258" y="6050456"/>
            <a:ext cx="2714417" cy="1177093"/>
          </a:xfrm>
          <a:prstGeom prst="rect">
            <a:avLst/>
          </a:prstGeom>
        </p:spPr>
      </p:pic>
      <p:pic>
        <p:nvPicPr>
          <p:cNvPr id="13" name="Image 12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34A68002-13F1-29B2-504B-8915F5E7FA58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23285" y="4176583"/>
            <a:ext cx="3096699" cy="5238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55925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A7A716-CA65-A61F-B095-2AA1AB0EAF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8">
            <a:extLst>
              <a:ext uri="{FF2B5EF4-FFF2-40B4-BE49-F238E27FC236}">
                <a16:creationId xmlns:a16="http://schemas.microsoft.com/office/drawing/2014/main" id="{C70D97DD-4876-4E78-91C9-222209AEF64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75158" y="813735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335FD001-C5C9-9891-CD34-D60F33630D6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55984" y="697808"/>
            <a:ext cx="10001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 signifie « Aujourd’hui, c’est lundi. » en arabe ? 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7958AA77-EC17-7395-F6CD-42D78BAE0F3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99197" y="574565"/>
            <a:ext cx="1828959" cy="1268078"/>
          </a:xfrm>
          <a:prstGeom prst="rect">
            <a:avLst/>
          </a:prstGeom>
        </p:spPr>
      </p:pic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805062AC-14F1-2A9B-187C-F31D6973565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0" name="Image 19">
            <a:extLst>
              <a:ext uri="{FF2B5EF4-FFF2-40B4-BE49-F238E27FC236}">
                <a16:creationId xmlns:a16="http://schemas.microsoft.com/office/drawing/2014/main" id="{C57E03A8-CE03-4DA4-EDE0-D8615A03E26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H="1">
            <a:off x="7879080" y="4781405"/>
            <a:ext cx="3357579" cy="4280923"/>
          </a:xfrm>
          <a:prstGeom prst="rect">
            <a:avLst/>
          </a:prstGeom>
        </p:spPr>
      </p:pic>
      <p:sp>
        <p:nvSpPr>
          <p:cNvPr id="2" name="Bulle narrative : ronde 1">
            <a:extLst>
              <a:ext uri="{FF2B5EF4-FFF2-40B4-BE49-F238E27FC236}">
                <a16:creationId xmlns:a16="http://schemas.microsoft.com/office/drawing/2014/main" id="{710974AF-CEC9-A5C5-EC96-0EE47D4C010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00337" y="2095960"/>
            <a:ext cx="3914775" cy="1530104"/>
          </a:xfrm>
          <a:prstGeom prst="wedgeEllipseCallout">
            <a:avLst>
              <a:gd name="adj1" fmla="val 21469"/>
              <a:gd name="adj2" fmla="val 7476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jourd’hui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c’est lundi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70177903-0BAB-4F02-04FB-1BC136B5951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43258" y="6050456"/>
            <a:ext cx="2714417" cy="1177093"/>
          </a:xfrm>
          <a:prstGeom prst="rect">
            <a:avLst/>
          </a:prstGeom>
        </p:spPr>
      </p:pic>
      <p:pic>
        <p:nvPicPr>
          <p:cNvPr id="4" name="Image 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1D101E23-F571-2C53-3351-BEFFBB6C478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23285" y="4176583"/>
            <a:ext cx="3096699" cy="5238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6308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5F626D-5665-BFE5-AD5B-CA712B3EC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D781BEEB-75F9-8D6F-FBAF-83803CBB47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966186" y="6975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87519C9-070E-3F1F-CF92-9776F8765A7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67546" y="601321"/>
            <a:ext cx="8687274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C’est quel jour, aujourd’hui ?</a:t>
            </a:r>
          </a:p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ondre ?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B2B68A08-7BEE-7847-D523-09DBEE247AEB}"/>
              </a:ext>
            </a:extLst>
          </p:cNvPr>
          <p:cNvSpPr txBox="1"/>
          <p:nvPr/>
        </p:nvSpPr>
        <p:spPr>
          <a:xfrm>
            <a:off x="2486026" y="2550879"/>
            <a:ext cx="108299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C’est quel jour, aujourd’hui ?</a:t>
            </a:r>
          </a:p>
        </p:txBody>
      </p:sp>
      <p:pic>
        <p:nvPicPr>
          <p:cNvPr id="14" name="Picture 49" descr="A cartoon of a person teaching a group of children&#10;&#10;Description automatically generated">
            <a:extLst>
              <a:ext uri="{FF2B5EF4-FFF2-40B4-BE49-F238E27FC236}">
                <a16:creationId xmlns:a16="http://schemas.microsoft.com/office/drawing/2014/main" id="{446AA54F-9C7E-21A1-852E-3D790A7CA4A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2368" y="3829994"/>
            <a:ext cx="6391263" cy="4787529"/>
          </a:xfrm>
          <a:prstGeom prst="rect">
            <a:avLst/>
          </a:prstGeom>
        </p:spPr>
      </p:pic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D6C9B8D2-F800-D72E-3868-811720A7C3D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FDA1C569-5DFA-8AC9-7E4F-B629E335304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67546" y="2279831"/>
            <a:ext cx="1476978" cy="1373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7720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7C2245-F486-D1D7-E3D4-9FA95ED79C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60A7A3D6-D4D4-CC8A-BA9B-80C35DFABE8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344E9FFE-8356-1D18-B264-436E99C28CF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5630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évision des lettres - 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C’est quel jour, aujourd’hui ?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Aujourd'hui, c’est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cs typeface="Calibri" panose="020F0502020204030204" pitchFamily="34" charset="0"/>
              </a:rPr>
              <a:t>3. Lecture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Reconnaître la lettre p en minuscule et en majuscule.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Lire la lettre p. 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C1D849F-3B5F-61B1-897E-E1FF716F33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FC15F88-B596-9CA2-3025-B9427E06151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739DBF0-417B-F941-918F-006125B83B5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6664994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0D684207-5370-B0B9-4E7D-2DCF37AFFC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2</a:t>
            </a:r>
          </a:p>
        </p:txBody>
      </p:sp>
    </p:spTree>
    <p:extLst>
      <p:ext uri="{BB962C8B-B14F-4D97-AF65-F5344CB8AC3E}">
        <p14:creationId xmlns:p14="http://schemas.microsoft.com/office/powerpoint/2010/main" val="7309719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71E22-8F9A-99F9-518F-BF98917492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2A5DA7EF-63AC-455E-AF22-3F0A7C03F49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3810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2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5B2BBF4F-ECAE-0051-7CC5-F246A7D1D0B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33455"/>
            <a:ext cx="12954000" cy="8765811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40134A9C-0C53-3CFB-98C3-75F3443CB88C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DB3F068D-EB28-6E19-DE39-B81B074C562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386A7AE6-CFBD-52E4-FE0D-695C0FE09B4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6222" y="13625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8264417A-1DBC-24FA-F550-4F52B652A2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747428" y="1822448"/>
            <a:ext cx="50292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r>
              <a:rPr lang="fr-FR" sz="3200" dirty="0">
                <a:solidFill>
                  <a:srgbClr val="106585"/>
                </a:solidFill>
                <a:latin typeface="Carelia"/>
              </a:rPr>
              <a:t>Objectifs de l’activité 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1187D41-CEB4-FE60-D27D-67CD94D53ED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1638" y="3335592"/>
            <a:ext cx="11752727" cy="4200876"/>
            <a:chOff x="1021947" y="3100970"/>
            <a:chExt cx="11752727" cy="3654320"/>
          </a:xfrm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468302FA-EA3C-CC57-86C4-4E4192540CA6}"/>
                </a:ext>
              </a:extLst>
            </p:cNvPr>
            <p:cNvSpPr/>
            <p:nvPr/>
          </p:nvSpPr>
          <p:spPr>
            <a:xfrm rot="10800000" flipH="1">
              <a:off x="1021947" y="3100970"/>
              <a:ext cx="11752727" cy="3654320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27094289-0B76-5D08-BC20-FD91748D7695}"/>
                </a:ext>
              </a:extLst>
            </p:cNvPr>
            <p:cNvSpPr/>
            <p:nvPr/>
          </p:nvSpPr>
          <p:spPr>
            <a:xfrm>
              <a:off x="1255693" y="3189998"/>
              <a:ext cx="706508" cy="3565292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 l="-109199" t="-6937" r="-896458" b="-829367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pic>
        <p:nvPicPr>
          <p:cNvPr id="19" name="Image 18">
            <a:extLst>
              <a:ext uri="{FF2B5EF4-FFF2-40B4-BE49-F238E27FC236}">
                <a16:creationId xmlns:a16="http://schemas.microsoft.com/office/drawing/2014/main" id="{8109628E-D429-AA02-366B-281F1DC33EE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1480252" y="4022969"/>
            <a:ext cx="504425" cy="549068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847A8638-511D-1F82-7DC7-FB2708ADC9D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49151" y="33334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Dosis"/>
              </a:rPr>
              <a:t>Pour l’enseignant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3C07BA0F-955A-73C5-FF56-948436C05F6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507530" y="4043018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Reconnaître la lettre p en minuscule et en majuscule.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7EB510D-D548-CD0A-31A2-90CB273B8D6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1480252" y="5243004"/>
            <a:ext cx="504425" cy="54906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741416F-0152-9049-C271-97F444E3127C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507530" y="5263053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Lire la lettre p.</a:t>
            </a:r>
          </a:p>
        </p:txBody>
      </p:sp>
    </p:spTree>
    <p:extLst>
      <p:ext uri="{BB962C8B-B14F-4D97-AF65-F5344CB8AC3E}">
        <p14:creationId xmlns:p14="http://schemas.microsoft.com/office/powerpoint/2010/main" val="279467571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8">
            <a:extLst>
              <a:ext uri="{FF2B5EF4-FFF2-40B4-BE49-F238E27FC236}">
                <a16:creationId xmlns:a16="http://schemas.microsoft.com/office/drawing/2014/main" id="{CF0CED95-0603-3709-3170-C0FFF228C7F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80367" y="69328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375C387-D836-D3E9-8DBD-CD7E6F8775A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38002" y="605083"/>
            <a:ext cx="115293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C’est la lettre p. Elle fait le son « p ».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Répétez après moi « p ». </a:t>
            </a: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F74119A1-AFFB-D68B-C618-B9FF072CF5B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95236352"/>
              </p:ext>
            </p:ext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AEF6EAB0-6874-1655-A805-F903F7D8929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047113" y="420140"/>
            <a:ext cx="1427019" cy="1575467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EB244C48-83F3-E613-F3B5-927364435ED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4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MA" sz="28700" b="1" dirty="0">
                <a:solidFill>
                  <a:srgbClr val="106584"/>
                </a:solidFill>
                <a:latin typeface="KG Primary Penmanship 2" panose="020B0604020202020204" charset="0"/>
              </a:rPr>
              <a:t>p   </a:t>
            </a:r>
          </a:p>
        </p:txBody>
      </p:sp>
    </p:spTree>
    <p:extLst>
      <p:ext uri="{BB962C8B-B14F-4D97-AF65-F5344CB8AC3E}">
        <p14:creationId xmlns:p14="http://schemas.microsoft.com/office/powerpoint/2010/main" val="26090878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D73354AC-8F6E-ED78-BD53-2DD41621B52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546863" y="707210"/>
            <a:ext cx="11529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C’est la lettre p en majuscule. 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AFE6CDB9-65B9-AB83-8D25-4D23F042EA3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38206" y="776485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783DBB4C-D2D2-26E6-FBA3-A721020521AD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A2E0B4C8-B8D2-8A6A-A9F4-6BE06E087E0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7D5D14A2-8662-1B07-9DD1-3579601C4F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4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MA" sz="28700" b="1" dirty="0">
                <a:solidFill>
                  <a:srgbClr val="106584"/>
                </a:solidFill>
                <a:latin typeface="KG Primary Penmanship 2" panose="020B0604020202020204" charset="0"/>
              </a:rPr>
              <a:t>P   </a:t>
            </a:r>
          </a:p>
        </p:txBody>
      </p:sp>
    </p:spTree>
    <p:extLst>
      <p:ext uri="{BB962C8B-B14F-4D97-AF65-F5344CB8AC3E}">
        <p14:creationId xmlns:p14="http://schemas.microsoft.com/office/powerpoint/2010/main" val="420272319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884091-E15D-1BB6-AF78-D8B9B762A1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468B468B-E77E-495C-D8D2-B48DD9F1A07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63836" y="578762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P – p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répéter ?  </a:t>
            </a:r>
            <a:endParaRPr kumimoji="0" lang="fr-FR" sz="225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5826FE9C-8D61-A019-B9BE-178D6B7A23B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7062" y="70210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3F2333C2-5C7E-82C0-5ED2-FC7F1677886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FD3AF820-F703-0848-EB60-DA60884413C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132461" y="587312"/>
            <a:ext cx="1860771" cy="1241124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D2850602-0313-D470-A602-595B642616F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4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MA" sz="28700" b="1" dirty="0">
                <a:solidFill>
                  <a:srgbClr val="106584"/>
                </a:solidFill>
                <a:latin typeface="KG Primary Penmanship 2" panose="020B0604020202020204" charset="0"/>
              </a:rPr>
              <a:t>p   </a:t>
            </a:r>
            <a:r>
              <a:rPr lang="fr-MA" sz="287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P</a:t>
            </a:r>
            <a:r>
              <a:rPr lang="fr-MA" sz="28700" b="1" dirty="0">
                <a:solidFill>
                  <a:srgbClr val="106584"/>
                </a:solidFill>
                <a:latin typeface="KG Primary Penmanship 2" panose="020B0604020202020204" charset="0"/>
              </a:rPr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7887191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13485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6"/>
            <a:stretch>
              <a:fillRect t="-5555" b="-5555"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/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3276600" y="2476501"/>
            <a:ext cx="8019621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ventions pour l’usage des support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/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7289EC27-7BBE-1564-F14F-8F211F9440E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776932" y="366680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2180162-B144-7FD4-BB9F-A0EAFFD8A3D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3762221"/>
            <a:ext cx="1374914" cy="76200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5B715999-34C4-2141-4830-610FF1FFFA4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606084" y="3955716"/>
            <a:ext cx="5416073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Pages réservées à l’enseignant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F8696B5-768D-1B28-07DD-B75235E312F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5351607"/>
            <a:ext cx="1374914" cy="762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10E672A-213D-5DC3-723E-374E0022336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606083" y="5545103"/>
            <a:ext cx="8401995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Explications et consignes à dire aux élèves</a:t>
            </a:r>
          </a:p>
        </p:txBody>
      </p:sp>
      <p:sp>
        <p:nvSpPr>
          <p:cNvPr id="21" name="Freeform 8">
            <a:extLst>
              <a:ext uri="{FF2B5EF4-FFF2-40B4-BE49-F238E27FC236}">
                <a16:creationId xmlns:a16="http://schemas.microsoft.com/office/drawing/2014/main" id="{953CC148-4B93-BBCE-4E28-D9EC27DDD16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0800000" flipH="1">
            <a:off x="1910312" y="5545103"/>
            <a:ext cx="929375" cy="627953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/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023503FF-8B75-175E-D636-720EC89779C2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76601" y="7033208"/>
            <a:ext cx="1374914" cy="76200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5E1446DD-0BB2-867F-17EC-2511CA95D91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713291" y="7169141"/>
            <a:ext cx="8019621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Audio enregistré (déclenchement automatique)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2ABBF97-DB21-AAF2-60D3-362648DC1197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1718466" y="6989980"/>
            <a:ext cx="1543266" cy="11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183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761B21-03F2-2E82-9983-8051655CA8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8">
            <a:extLst>
              <a:ext uri="{FF2B5EF4-FFF2-40B4-BE49-F238E27FC236}">
                <a16:creationId xmlns:a16="http://schemas.microsoft.com/office/drawing/2014/main" id="{3D210924-F8D0-F192-E352-52FE342A560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06963" y="65035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82FA0C53-EA0B-8B3B-8CC8-ABD1AD1EB23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38177" y="562153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rgbClr val="A6A6A6"/>
                </a:solidFill>
                <a:latin typeface="Calibri "/>
              </a:rPr>
              <a:t>p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comme dans papa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Dans le mot « papa », je vois la lettre p</a:t>
            </a:r>
            <a:r>
              <a:rPr lang="fr-FR" sz="2400" b="1" dirty="0">
                <a:solidFill>
                  <a:srgbClr val="A6A6A6"/>
                </a:solidFill>
                <a:latin typeface="Calibri "/>
              </a:rPr>
              <a:t>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et j’entends le son « p</a:t>
            </a:r>
            <a:r>
              <a:rPr lang="fr-FR" sz="2400" b="1" dirty="0">
                <a:solidFill>
                  <a:srgbClr val="A6A6A6"/>
                </a:solidFill>
                <a:latin typeface="Calibri "/>
              </a:rPr>
              <a:t>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». 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6E704F70-72D3-14F3-B4BB-D9AFE6D8C95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35122" y="4012444"/>
            <a:ext cx="813301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3800" b="1" dirty="0">
                <a:solidFill>
                  <a:schemeClr val="accent6">
                    <a:lumMod val="75000"/>
                  </a:schemeClr>
                </a:solidFill>
                <a:latin typeface="Dosis" pitchFamily="2" charset="0"/>
              </a:rPr>
              <a:t>p</a:t>
            </a:r>
            <a:r>
              <a:rPr lang="fr-FR" sz="13800" b="1" dirty="0">
                <a:solidFill>
                  <a:srgbClr val="106584"/>
                </a:solidFill>
                <a:latin typeface="Dosis" pitchFamily="2" charset="0"/>
              </a:rPr>
              <a:t>a</a:t>
            </a:r>
            <a:r>
              <a:rPr lang="fr-FR" sz="13800" b="1" dirty="0">
                <a:solidFill>
                  <a:schemeClr val="accent6">
                    <a:lumMod val="75000"/>
                  </a:schemeClr>
                </a:solidFill>
                <a:latin typeface="Dosis" pitchFamily="2" charset="0"/>
              </a:rPr>
              <a:t>p</a:t>
            </a:r>
            <a:r>
              <a:rPr lang="fr-FR" sz="13800" b="1" dirty="0">
                <a:solidFill>
                  <a:srgbClr val="106584"/>
                </a:solidFill>
                <a:latin typeface="Dosis" pitchFamily="2" charset="0"/>
              </a:rPr>
              <a:t>a</a:t>
            </a:r>
            <a:endParaRPr kumimoji="0" lang="fr-FR" sz="13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654AE645-6043-69B0-95A2-2FAE42D063C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6279FD9F-7B5F-FB6F-D4EE-D909831E19E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4E38C34-5FBA-644F-8AA5-ECA8F198B4A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30886" y="3257654"/>
            <a:ext cx="2521946" cy="411786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64230495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AB8EA3-1810-BFE4-585C-5586345BCC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8">
            <a:extLst>
              <a:ext uri="{FF2B5EF4-FFF2-40B4-BE49-F238E27FC236}">
                <a16:creationId xmlns:a16="http://schemas.microsoft.com/office/drawing/2014/main" id="{3640BA9E-8829-3707-39B4-21F8A26B2DB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78313" y="696110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F313EE23-8E65-AD66-D029-97D7D6F3587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8313" y="4035504"/>
            <a:ext cx="762902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</a:t>
            </a:r>
            <a:r>
              <a:rPr lang="fr-FR" sz="13800" b="1" dirty="0">
                <a:solidFill>
                  <a:srgbClr val="106584"/>
                </a:solidFill>
                <a:latin typeface="Dosis" pitchFamily="2" charset="0"/>
              </a:rPr>
              <a:t>oule</a:t>
            </a:r>
            <a:endParaRPr kumimoji="0" lang="fr-FR" sz="138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6415DB36-B253-05F5-9281-A39A7376E79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>
            <a:extLst>
              <a:ext uri="{FF2B5EF4-FFF2-40B4-BE49-F238E27FC236}">
                <a16:creationId xmlns:a16="http://schemas.microsoft.com/office/drawing/2014/main" id="{8A487779-9DDD-F043-8B41-992E7EB072D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FB0FADD1-8C0E-580C-2EE4-C7D9B3180B0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238177" y="605695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rgbClr val="A6A6A6"/>
                </a:solidFill>
                <a:latin typeface="Calibri "/>
              </a:rPr>
              <a:t>p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comme dans poule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Dans le mot « poule », je vois la lettre p et j’entends le son « p</a:t>
            </a:r>
            <a:r>
              <a:rPr lang="fr-FR" sz="2400" b="1" dirty="0">
                <a:solidFill>
                  <a:srgbClr val="A6A6A6"/>
                </a:solidFill>
                <a:latin typeface="Calibri "/>
              </a:rPr>
              <a:t>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». 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2251D59A-1ED5-47FD-05FC-1193815E2E3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58287" y="3635109"/>
            <a:ext cx="2271746" cy="3016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95115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6049F4-CB88-0019-4E98-2948BF66C5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8">
            <a:extLst>
              <a:ext uri="{FF2B5EF4-FFF2-40B4-BE49-F238E27FC236}">
                <a16:creationId xmlns:a16="http://schemas.microsoft.com/office/drawing/2014/main" id="{5013910E-E29C-E882-5E79-214BB3E3884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78313" y="696110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EF4F716E-4B41-5FD1-AF25-8C88FEAD684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00051" y="4035504"/>
            <a:ext cx="7907288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3800" b="1" dirty="0">
                <a:solidFill>
                  <a:srgbClr val="106584"/>
                </a:solidFill>
                <a:latin typeface="Dosis" pitchFamily="2" charset="0"/>
              </a:rPr>
              <a:t>ta</a:t>
            </a:r>
            <a:r>
              <a:rPr lang="fr-FR" sz="13800" b="1" dirty="0">
                <a:solidFill>
                  <a:schemeClr val="accent6">
                    <a:lumMod val="75000"/>
                  </a:schemeClr>
                </a:solidFill>
                <a:latin typeface="Dosis" pitchFamily="2" charset="0"/>
              </a:rPr>
              <a:t>p</a:t>
            </a:r>
            <a:r>
              <a:rPr lang="fr-FR" sz="13800" b="1" dirty="0">
                <a:solidFill>
                  <a:srgbClr val="106584"/>
                </a:solidFill>
                <a:latin typeface="Dosis" pitchFamily="2" charset="0"/>
              </a:rPr>
              <a:t>is</a:t>
            </a:r>
            <a:endParaRPr kumimoji="0" lang="fr-FR" sz="138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0D5653FB-6346-FCDB-4EAE-0A0441A8CC4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>
            <a:extLst>
              <a:ext uri="{FF2B5EF4-FFF2-40B4-BE49-F238E27FC236}">
                <a16:creationId xmlns:a16="http://schemas.microsoft.com/office/drawing/2014/main" id="{740A5B7E-32DD-44D9-DDB1-47994736A2C4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6F7F3560-1B61-78DB-82C4-53B6AA071BE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238177" y="605695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rgbClr val="A6A6A6"/>
                </a:solidFill>
                <a:latin typeface="Calibri "/>
              </a:rPr>
              <a:t>p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comme dans tapis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Dans le mot « tapis », je vois la lettre p et j’entends le son « p</a:t>
            </a:r>
            <a:r>
              <a:rPr lang="fr-FR" sz="2400" b="1" dirty="0">
                <a:solidFill>
                  <a:srgbClr val="A6A6A6"/>
                </a:solidFill>
                <a:latin typeface="Calibri "/>
              </a:rPr>
              <a:t>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». 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8EC20F26-5B56-D345-170B-5C5A0A70F32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35876" y="4222023"/>
            <a:ext cx="3921818" cy="2029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64194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782E04-158B-1A81-9CD9-EFF7565E5F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68C038CA-DB1D-BC2F-1343-BC0C38ACA13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Observez bien cette liste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F4EA7E43-E6F3-F69C-4609-35FC759D486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C38160C2-7057-510A-39B0-F87C9654329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00704CBB-85F1-59B4-D65E-B9B4D1F6F94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45247" y="524034"/>
            <a:ext cx="916165" cy="1304766"/>
          </a:xfrm>
          <a:prstGeom prst="rect">
            <a:avLst/>
          </a:prstGeom>
        </p:spPr>
      </p:pic>
      <p:sp>
        <p:nvSpPr>
          <p:cNvPr id="11" name="ZoneTexte 2">
            <a:extLst>
              <a:ext uri="{FF2B5EF4-FFF2-40B4-BE49-F238E27FC236}">
                <a16:creationId xmlns:a16="http://schemas.microsoft.com/office/drawing/2014/main" id="{574605EF-C02C-61C7-CBB1-D97791933AA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5" y="6009003"/>
            <a:ext cx="12940645" cy="213904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p</a:t>
            </a:r>
            <a:r>
              <a:rPr lang="fr-MA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 a q P e b p d a p</a:t>
            </a:r>
          </a:p>
        </p:txBody>
      </p:sp>
    </p:spTree>
    <p:extLst>
      <p:ext uri="{BB962C8B-B14F-4D97-AF65-F5344CB8AC3E}">
        <p14:creationId xmlns:p14="http://schemas.microsoft.com/office/powerpoint/2010/main" val="244915159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46657D-B6CC-495F-AA94-DFBBE2212B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72C95F29-B479-31D9-5711-4924DD9EC3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passer au tableau pour montrer la lettre p ?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DCF41EB6-12EB-5C64-C713-51ED82367A4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32815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407F05F1-7FB3-351A-0377-683CC92DBF1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F81C8CB-55A5-F70E-92A3-39AFAD94805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  <p:sp>
        <p:nvSpPr>
          <p:cNvPr id="4" name="ZoneTexte 2">
            <a:extLst>
              <a:ext uri="{FF2B5EF4-FFF2-40B4-BE49-F238E27FC236}">
                <a16:creationId xmlns:a16="http://schemas.microsoft.com/office/drawing/2014/main" id="{1B853425-F501-C574-F3F5-A5374B52B23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5" y="6009003"/>
            <a:ext cx="12940645" cy="213904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p</a:t>
            </a:r>
            <a:r>
              <a:rPr lang="fr-MA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 a q P e b p d a p</a:t>
            </a:r>
          </a:p>
        </p:txBody>
      </p:sp>
    </p:spTree>
    <p:extLst>
      <p:ext uri="{BB962C8B-B14F-4D97-AF65-F5344CB8AC3E}">
        <p14:creationId xmlns:p14="http://schemas.microsoft.com/office/powerpoint/2010/main" val="406052332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6357E5-653F-4F8C-178F-C71757D77A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1056AF0C-A06A-FDD6-E10C-9EEEA5A09E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39512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Repérez la lettre p dans la liste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FB4FE97C-394E-F01D-741E-00D236CD1D0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98128" y="774267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97C0E5A3-AD60-C704-F0B9-C82FEE8B1D0A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647C6356-B5F0-C6EE-FF27-890E6773FC4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83142" y="524034"/>
            <a:ext cx="878270" cy="1250798"/>
          </a:xfrm>
          <a:prstGeom prst="rect">
            <a:avLst/>
          </a:prstGeom>
        </p:spPr>
      </p:pic>
      <p:sp>
        <p:nvSpPr>
          <p:cNvPr id="2" name="ZoneTexte 2">
            <a:extLst>
              <a:ext uri="{FF2B5EF4-FFF2-40B4-BE49-F238E27FC236}">
                <a16:creationId xmlns:a16="http://schemas.microsoft.com/office/drawing/2014/main" id="{1E99AED0-A693-D576-C9A5-B3B587DEC3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5" y="6009003"/>
            <a:ext cx="12940645" cy="213904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3300" b="1" dirty="0">
                <a:solidFill>
                  <a:schemeClr val="accent6">
                    <a:lumMod val="75000"/>
                  </a:schemeClr>
                </a:solidFill>
                <a:latin typeface="KG Primary Penmanship Alt" panose="02000506000000020003" pitchFamily="2" charset="0"/>
              </a:rPr>
              <a:t>p</a:t>
            </a:r>
            <a:r>
              <a:rPr lang="fr-MA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 a q </a:t>
            </a:r>
            <a:r>
              <a:rPr lang="fr-MA" sz="13300" b="1" dirty="0">
                <a:solidFill>
                  <a:schemeClr val="accent6">
                    <a:lumMod val="75000"/>
                  </a:schemeClr>
                </a:solidFill>
                <a:latin typeface="KG Primary Penmanship Alt" panose="02000506000000020003" pitchFamily="2" charset="0"/>
              </a:rPr>
              <a:t>P</a:t>
            </a:r>
            <a:r>
              <a:rPr lang="fr-MA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 e b </a:t>
            </a:r>
            <a:r>
              <a:rPr lang="fr-MA" sz="13300" b="1" dirty="0">
                <a:solidFill>
                  <a:schemeClr val="accent6">
                    <a:lumMod val="75000"/>
                  </a:schemeClr>
                </a:solidFill>
                <a:latin typeface="KG Primary Penmanship Alt" panose="02000506000000020003" pitchFamily="2" charset="0"/>
              </a:rPr>
              <a:t>p</a:t>
            </a:r>
            <a:r>
              <a:rPr lang="fr-MA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 d a </a:t>
            </a:r>
            <a:r>
              <a:rPr lang="fr-MA" sz="13300" b="1" dirty="0">
                <a:solidFill>
                  <a:schemeClr val="accent6">
                    <a:lumMod val="75000"/>
                  </a:schemeClr>
                </a:solidFill>
                <a:latin typeface="KG Primary Penmanship Alt" panose="02000506000000020003" pitchFamily="2" charset="0"/>
              </a:rPr>
              <a:t>p</a:t>
            </a:r>
          </a:p>
        </p:txBody>
      </p:sp>
    </p:spTree>
    <p:extLst>
      <p:ext uri="{BB962C8B-B14F-4D97-AF65-F5344CB8AC3E}">
        <p14:creationId xmlns:p14="http://schemas.microsoft.com/office/powerpoint/2010/main" val="288630681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AC7D83-CF1D-8037-B88F-1128FD6B2A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2C0D5F17-7E62-71A4-1AFB-06414CA5A20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passer au tableau pour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ontrer la lettre p dans ce mot ? 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51307C32-FCFD-CBD6-8C73-E3A5659B81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E44B8AB-F44A-0CDB-BC5A-1C538DED8BD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parasol  </a:t>
            </a:r>
            <a:endParaRPr kumimoji="0" lang="fr-FR" sz="166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Dosis Medium" pitchFamily="2" charset="0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4C57ABE8-8D8B-BC7A-2AD0-B926883E3E1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BB27E591-E831-28FB-EEFB-8F93B40CF4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</p:spTree>
    <p:extLst>
      <p:ext uri="{BB962C8B-B14F-4D97-AF65-F5344CB8AC3E}">
        <p14:creationId xmlns:p14="http://schemas.microsoft.com/office/powerpoint/2010/main" val="317564788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BD728E-1B5C-728D-FF21-4CABB953A5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79BC1B83-2C89-B08B-740F-03332CDFD5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Observez la lettre p dans le mot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4D122E15-722D-0AB1-1459-79BD92442C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539E80E6-A658-5944-D119-CFDDCCB805A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53364B24-7222-28E2-3547-174E1CFA71C4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45247" y="524034"/>
            <a:ext cx="916165" cy="1304766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BCB39CE0-AFA4-8883-A615-3F83256FD6D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600" b="1" dirty="0">
                <a:solidFill>
                  <a:schemeClr val="accent6">
                    <a:lumMod val="75000"/>
                  </a:schemeClr>
                </a:solidFill>
                <a:latin typeface="Dosis Medium" pitchFamily="2" charset="0"/>
              </a:rPr>
              <a:t>p</a:t>
            </a: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arasol  </a:t>
            </a:r>
            <a:endParaRPr kumimoji="0" lang="fr-FR" sz="166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Dosis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805689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542D32-F162-093D-B570-BC50F01DB6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D0F1AF1F-F13D-E7A0-C81E-8A7E62F70D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passer au tableau pour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ontrer la lettre p dans ce mot ? 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F0A5EFB5-8418-12DA-9233-A3EFB20E864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7703AC64-BAC1-C170-BEAE-89C7857FE0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Poupée</a:t>
            </a:r>
            <a:endParaRPr kumimoji="0" lang="fr-FR" sz="166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Dosis Medium" pitchFamily="2" charset="0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F7460E53-6835-279E-AE67-DB33D870CA6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721D251-25F7-B170-5510-E66F7688102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</p:spTree>
    <p:extLst>
      <p:ext uri="{BB962C8B-B14F-4D97-AF65-F5344CB8AC3E}">
        <p14:creationId xmlns:p14="http://schemas.microsoft.com/office/powerpoint/2010/main" val="351634671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CCE573-D5F0-0F82-43EE-2ED37E89D1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55EDAF9F-C4BE-58C1-A116-6B6F80CEBFF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Observez la lettre p dans le mot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03AC2F43-2909-BA11-B52E-E06B6ECF666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669EEA15-3913-8573-0F9E-1A60978A5AB9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C0BE525A-69BC-F0E6-1E86-268A692E5A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45247" y="524034"/>
            <a:ext cx="916165" cy="1304766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D55C257B-F84A-C047-D031-8B301C99DDA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600" b="1" dirty="0">
                <a:solidFill>
                  <a:schemeClr val="accent6">
                    <a:lumMod val="75000"/>
                  </a:schemeClr>
                </a:solidFill>
                <a:latin typeface="Dosis Medium" pitchFamily="2" charset="0"/>
              </a:rPr>
              <a:t>P</a:t>
            </a: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ou</a:t>
            </a:r>
            <a:r>
              <a:rPr lang="fr-FR" sz="16600" b="1" dirty="0">
                <a:solidFill>
                  <a:schemeClr val="accent6">
                    <a:lumMod val="75000"/>
                  </a:schemeClr>
                </a:solidFill>
                <a:latin typeface="Dosis Medium" pitchFamily="2" charset="0"/>
              </a:rPr>
              <a:t>p</a:t>
            </a: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ée   </a:t>
            </a:r>
            <a:endParaRPr kumimoji="0" lang="fr-FR" sz="166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Dosis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2400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F84DB-06AD-D0E2-8538-3F09DE4C4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9D27F43D-2AAC-3924-3C8D-F1B03F83B31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828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314923F-69FD-5D4C-611C-138FFCB9BA7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E5EB3374-A76C-2A54-6038-72818B2CDB51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1758D412-727A-87EE-D7AD-DF9242B11ED6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35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AFDA5764-B6A4-60C6-DCDA-6856AC1D5F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EA470B7-E062-15E0-33DE-CF45AE1EF64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399060" y="1865441"/>
            <a:ext cx="7271961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35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ictogrammes pour la gestion de la leçon. 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D3FF3D4-5F97-F646-3844-63C78EA24D1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9A451E6-42B1-DFF1-7AE4-A7F2056EC01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8491" y="4756182"/>
            <a:ext cx="37968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delage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écoutent. 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EE9A24F-D8C5-7E23-497C-A5D00EB35DF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000" y="2954900"/>
            <a:ext cx="1636031" cy="1631801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5BB7C58-97F4-D723-60E8-49521E84193F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4116140" y="2982989"/>
            <a:ext cx="2566257" cy="1711679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9EC96FEE-CB37-D47D-DC7D-94A02B44A06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592846" y="4828793"/>
            <a:ext cx="3304035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estions directes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désigne des élèves.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B73E3A4-703C-71EA-8A0D-2E42F69B21D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86454" y="2977902"/>
            <a:ext cx="1747521" cy="1466991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97A78D7E-4EA3-8F6B-EB49-9380B2CCBAA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379758" y="4770770"/>
            <a:ext cx="43085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pétition choral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Toute la classe participe. 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ACD71421-7E63-0887-15F3-9B3C58CC5617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320256" y="6354876"/>
            <a:ext cx="1849217" cy="1142676"/>
          </a:xfrm>
          <a:prstGeom prst="roundRect">
            <a:avLst>
              <a:gd name="adj" fmla="val 31362"/>
            </a:avLst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519DECAF-6F46-F2D9-3C43-0C5075904C4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377366" y="7796685"/>
            <a:ext cx="39154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assage au tableau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 élève réalise la tâche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1BAC82B-025C-D00A-B7BA-2FDECC2C4E40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313" y="6218106"/>
            <a:ext cx="1412672" cy="1337688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BC7C708A-7CF6-ABB8-7BF8-C9174CC9466A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4402" y="7824352"/>
            <a:ext cx="354956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cture silencieuse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A30520AD-873E-13AF-FDF7-426FBF1C62A8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225" y="6234380"/>
            <a:ext cx="1846817" cy="1291715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C81664E-77EA-659F-4F1A-E015F091A3C5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7101466" y="7711353"/>
            <a:ext cx="349570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ratique autonom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circule entre les rangs.  </a:t>
            </a:r>
          </a:p>
        </p:txBody>
      </p:sp>
      <p:pic>
        <p:nvPicPr>
          <p:cNvPr id="18" name="Image 17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DA3012CF-2363-2ED8-3431-EDCB4ED9ADC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364686" y="6013321"/>
            <a:ext cx="1250264" cy="1512774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E9A6834E-AFB5-023D-9381-B94F5B6F48A0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220479" y="7796189"/>
            <a:ext cx="33040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Observation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observent. </a:t>
            </a: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DCA9C8A-9242-4256-6CC5-A41CF76EF40C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7355492" y="3122272"/>
            <a:ext cx="1961535" cy="1238864"/>
            <a:chOff x="7152968" y="2374490"/>
            <a:chExt cx="1961535" cy="1238864"/>
          </a:xfrm>
        </p:grpSpPr>
        <p:sp>
          <p:nvSpPr>
            <p:cNvPr id="21" name="Bulle narrative : ronde 20">
              <a:extLst>
                <a:ext uri="{FF2B5EF4-FFF2-40B4-BE49-F238E27FC236}">
                  <a16:creationId xmlns:a16="http://schemas.microsoft.com/office/drawing/2014/main" id="{9FF31181-CF52-0696-E904-1C18160AA31D}"/>
                </a:ext>
              </a:extLst>
            </p:cNvPr>
            <p:cNvSpPr/>
            <p:nvPr/>
          </p:nvSpPr>
          <p:spPr>
            <a:xfrm>
              <a:off x="7152968" y="2374490"/>
              <a:ext cx="1961535" cy="1224116"/>
            </a:xfrm>
            <a:prstGeom prst="wedgeEllipseCallou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CEB0F0D4-5E2D-4A78-A130-A42049559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340077" y="2415547"/>
              <a:ext cx="1553200" cy="1197807"/>
            </a:xfrm>
            <a:prstGeom prst="rect">
              <a:avLst/>
            </a:prstGeom>
          </p:spPr>
        </p:pic>
      </p:grpSp>
      <p:sp>
        <p:nvSpPr>
          <p:cNvPr id="25" name="ZoneTexte 24">
            <a:extLst>
              <a:ext uri="{FF2B5EF4-FFF2-40B4-BE49-F238E27FC236}">
                <a16:creationId xmlns:a16="http://schemas.microsoft.com/office/drawing/2014/main" id="{05BDA0A1-C1DE-3363-14D1-25382633DF6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811905" y="4785518"/>
            <a:ext cx="304871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Dites-le en arabe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disent le mot en arabe. </a:t>
            </a:r>
          </a:p>
        </p:txBody>
      </p:sp>
    </p:spTree>
    <p:extLst>
      <p:ext uri="{BB962C8B-B14F-4D97-AF65-F5344CB8AC3E}">
        <p14:creationId xmlns:p14="http://schemas.microsoft.com/office/powerpoint/2010/main" val="26352967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E2768-B6B9-B289-2E8C-6B171FD0C9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272713B2-BC0A-BD6B-4564-174A15A8EE7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passer au tableau pour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ontrer la lettre p dans ce mot ? 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ACDFE8BE-C870-A9A1-F094-4A9FEFF2193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E3F1109-19B3-F82C-AC5D-49D007E90A5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soupe</a:t>
            </a:r>
            <a:endParaRPr kumimoji="0" lang="fr-FR" sz="166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Dosis Medium" pitchFamily="2" charset="0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DF2DFE15-F638-052B-E296-DF862F609B6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88D2C20E-D119-9658-75E4-A8EBCDEFA1A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</p:spTree>
    <p:extLst>
      <p:ext uri="{BB962C8B-B14F-4D97-AF65-F5344CB8AC3E}">
        <p14:creationId xmlns:p14="http://schemas.microsoft.com/office/powerpoint/2010/main" val="68589880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C506F9-9F88-9290-75F9-76227E244B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4A4F1CAA-6E56-9707-80BC-D918B2463CD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Observez la lettre p dans le mot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244DB069-137B-044A-4D2B-5ACA84B273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2098CD13-4220-5BAB-213C-F6DB30E760C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1856D0E5-350D-8124-A167-3D1F930D5B1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45247" y="524034"/>
            <a:ext cx="916165" cy="1304766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51777B16-C940-1B95-F19D-A6D0D4D672C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sou</a:t>
            </a:r>
            <a:r>
              <a:rPr lang="fr-FR" sz="16600" b="1" dirty="0">
                <a:solidFill>
                  <a:schemeClr val="accent6">
                    <a:lumMod val="75000"/>
                  </a:schemeClr>
                </a:solidFill>
                <a:latin typeface="Dosis Medium" pitchFamily="2" charset="0"/>
              </a:rPr>
              <a:t>p</a:t>
            </a: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e</a:t>
            </a:r>
            <a:endParaRPr kumimoji="0" lang="fr-FR" sz="166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Dosis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81302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8662" y="590422"/>
            <a:ext cx="10115550" cy="1215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C’est papi.  </a:t>
            </a:r>
            <a:r>
              <a:rPr kumimoji="0" lang="fr-FR" sz="225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a-pi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. </a:t>
            </a:r>
          </a:p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J’entends le son « p » dans papi. </a:t>
            </a:r>
          </a:p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</a:t>
            </a:r>
            <a:endParaRPr kumimoji="0" lang="fr-FR" sz="22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87B7A0C2-1925-E58F-1880-0E147A8A8A5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99" y="685027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042CF18-D63D-137C-7115-744BCFB4A44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42F7EF13-3092-9596-BD87-7E89DDB2913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BA1A284E-68E7-0358-7493-5BCA9AC09AD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7118" y="2856117"/>
            <a:ext cx="2701764" cy="4574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07055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3DD3DD-93E2-A998-28D6-4DDAD4AA9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>
            <a:extLst>
              <a:ext uri="{FF2B5EF4-FFF2-40B4-BE49-F238E27FC236}">
                <a16:creationId xmlns:a16="http://schemas.microsoft.com/office/drawing/2014/main" id="{44EA70D4-640C-865F-A1E2-B85D3568F6D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8662" y="590422"/>
            <a:ext cx="10115550" cy="83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685834">
              <a:lnSpc>
                <a:spcPts val="3017"/>
              </a:lnSpc>
              <a:spcBef>
                <a:spcPct val="0"/>
              </a:spcBef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C’est un parasol</a:t>
            </a:r>
            <a:r>
              <a:rPr lang="fr-FR" sz="2250" b="1" dirty="0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. Pa-ra-sol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.  </a:t>
            </a:r>
          </a:p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Est-ce que j’entends le son «</a:t>
            </a:r>
            <a:r>
              <a:rPr lang="fr-FR" sz="2250" b="1" dirty="0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p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» dans parasol  ?  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EFFEE037-47EB-3EA5-5EA7-5B2567364C8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99" y="685027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E5DDB5CD-7188-BDAE-7CA1-32B9988DBD6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74BE6398-9E6A-200A-F7BB-C9BCAB7701A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62D756A1-2420-D06F-B39F-E8A47F88C69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99356" y="3325889"/>
            <a:ext cx="3517287" cy="3635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16269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9E8904-DF3B-DFB9-3507-34363706C9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>
            <a:extLst>
              <a:ext uri="{FF2B5EF4-FFF2-40B4-BE49-F238E27FC236}">
                <a16:creationId xmlns:a16="http://schemas.microsoft.com/office/drawing/2014/main" id="{6B3FF0E1-74DF-F329-3573-5E8EB30442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8662" y="590422"/>
            <a:ext cx="10115550" cy="83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685834">
              <a:lnSpc>
                <a:spcPts val="3017"/>
              </a:lnSpc>
              <a:spcBef>
                <a:spcPct val="0"/>
              </a:spcBef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C’est un</a:t>
            </a:r>
            <a:r>
              <a:rPr lang="fr-FR" sz="2250" b="1" dirty="0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 stylo. </a:t>
            </a:r>
            <a:r>
              <a:rPr lang="fr-FR" sz="2250" b="1" dirty="0" err="1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Sty-lo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.  </a:t>
            </a:r>
          </a:p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Est-ce que j’entends le son «p » dans </a:t>
            </a:r>
            <a:r>
              <a:rPr lang="fr-FR" sz="2250" b="1" dirty="0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stylo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 ?  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E7F5E0EC-AFEB-017E-83FF-9DA5C21AD59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99" y="685027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946867F-BB5E-4161-9C73-922AD642323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CDAD75A3-B84A-F21E-8641-658C278691F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F4D81CB7-259E-AB8A-B4EE-EC4C310BFC5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8544" b="89873" l="9922" r="89883">
                        <a14:foregroundMark x1="16537" y1="84019" x2="19844" y2="89399"/>
                        <a14:foregroundMark x1="82296" y1="10918" x2="89689" y2="15190"/>
                        <a14:foregroundMark x1="85992" y1="8544" x2="87743" y2="125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87071" y="3508692"/>
            <a:ext cx="3141857" cy="3863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36898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A55757-2047-B8D9-ABE4-AED7255341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>
            <a:extLst>
              <a:ext uri="{FF2B5EF4-FFF2-40B4-BE49-F238E27FC236}">
                <a16:creationId xmlns:a16="http://schemas.microsoft.com/office/drawing/2014/main" id="{1A97A348-0690-60F5-CFE4-371BC243EB4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8662" y="590422"/>
            <a:ext cx="10115550" cy="83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685834">
              <a:lnSpc>
                <a:spcPts val="3017"/>
              </a:lnSpc>
              <a:spcBef>
                <a:spcPct val="0"/>
              </a:spcBef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C’est une</a:t>
            </a:r>
            <a:r>
              <a:rPr lang="fr-FR" sz="2250" b="1" dirty="0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 porte. </a:t>
            </a:r>
            <a:r>
              <a:rPr lang="fr-FR" sz="2250" b="1" dirty="0" err="1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Por-te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.  </a:t>
            </a:r>
          </a:p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Est-ce que j’entends le son «p</a:t>
            </a:r>
            <a:r>
              <a:rPr lang="fr-FR" sz="2250" b="1" dirty="0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 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» dans porte  ?  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2D612332-BF20-34B0-7F27-88DDA296392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99" y="685027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5236D2A-5581-92E5-2C2A-DF5DB9969DD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B956CAE2-AA1F-4530-05C7-FA0115AFD35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7" name="Image 6" descr="Une image contenant capture d’écran, Rectangle, conception&#10;&#10;Description générée automatiquement">
            <a:extLst>
              <a:ext uri="{FF2B5EF4-FFF2-40B4-BE49-F238E27FC236}">
                <a16:creationId xmlns:a16="http://schemas.microsoft.com/office/drawing/2014/main" id="{366C4F4E-44CD-68AF-C247-8A61FD42A13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5801" y="3023905"/>
            <a:ext cx="2324398" cy="4605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03869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25EE3C-0552-3C9A-85D5-A5225BBA6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10287E18-69C6-3B4D-8BE6-A6CB0BC14EE2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CA017BAA-6BDB-904D-1E89-7E185C81E8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46424" y="1092330"/>
            <a:ext cx="69276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 les élèves ne disposent pas de manuels, la leçon est terminée. </a:t>
            </a:r>
            <a:endParaRPr kumimoji="0" lang="fr-FR" sz="1400" b="1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FFFF8468-C116-9493-5F59-453A7E2197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05597" y="722301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6AC1C3B-B4BC-F4A8-4769-F9489EE47C5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46424" y="634508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Prenez vos livrets et un crayon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CEFC210-46FE-D869-3D1E-48869A0E7D3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2699334" y="2571317"/>
            <a:ext cx="3999271" cy="5710896"/>
          </a:xfrm>
          <a:prstGeom prst="rect">
            <a:avLst/>
          </a:prstGeom>
        </p:spPr>
      </p:pic>
      <p:pic>
        <p:nvPicPr>
          <p:cNvPr id="4" name="Image 3" descr="Une image contenant dessin, croquis, briquet, illustration&#10;&#10;Description générée automatiquement">
            <a:extLst>
              <a:ext uri="{FF2B5EF4-FFF2-40B4-BE49-F238E27FC236}">
                <a16:creationId xmlns:a16="http://schemas.microsoft.com/office/drawing/2014/main" id="{FBD81DAC-D87E-86B9-1E52-43A3D9317D6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5992" y="4190466"/>
            <a:ext cx="2010942" cy="2472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16445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67058C-8E98-495E-88ED-9BBCBD96F0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2FBEFB96-FB05-04C1-6C90-1C75C3BC6362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5" name="Freeform 8">
            <a:extLst>
              <a:ext uri="{FF2B5EF4-FFF2-40B4-BE49-F238E27FC236}">
                <a16:creationId xmlns:a16="http://schemas.microsoft.com/office/drawing/2014/main" id="{2CDE8A98-23DB-5BB4-E159-A36095AA01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27368" y="765843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EE6ABE2-07A0-C90F-A88D-835E1444A59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02882" y="699821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Allez à la page 34. 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0573FAA-19F8-BD9E-31E1-4C1E3F4FF26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69935" y="1715423"/>
            <a:ext cx="5561811" cy="787175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E39246C-B3F7-0A93-D3A6-5226BEF0194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100458" y="2771767"/>
            <a:ext cx="5700767" cy="275749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605662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B3F552-6007-9678-8D38-A4D43FD546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A833183A-43AA-8BA4-2B4B-28A61467370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3741" y="681459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067F983-10DE-2614-5071-A4917FD2BD5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10159" y="584599"/>
            <a:ext cx="11529396" cy="88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Activité 1 : j’entoure </a:t>
            </a: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p - P</a:t>
            </a: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comme dans l’exemple.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Je vais circuler entre les rangs pour vous aider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A3E8ED49-88C7-882E-71BA-D23D8AA761F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F4D9F98C-4190-8000-04B0-32649776C11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E3B2AA8A-B2AC-5C2D-EDAE-AF61DD7DE26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2994" y="4148453"/>
            <a:ext cx="12630010" cy="2578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98837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F3DD4-4470-4E67-5A82-B25C436E80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4C8DB07B-DDD0-27A6-FC12-CB09362D446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42994" y="4148453"/>
            <a:ext cx="12630010" cy="2578592"/>
          </a:xfrm>
          <a:prstGeom prst="rect">
            <a:avLst/>
          </a:prstGeom>
        </p:spPr>
      </p:pic>
      <p:sp>
        <p:nvSpPr>
          <p:cNvPr id="16" name="Freeform 8">
            <a:extLst>
              <a:ext uri="{FF2B5EF4-FFF2-40B4-BE49-F238E27FC236}">
                <a16:creationId xmlns:a16="http://schemas.microsoft.com/office/drawing/2014/main" id="{462A8E6E-A056-AA6A-BEE2-7771A83FD75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8662" y="805384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B1A36DE-E18E-FED3-DE08-359889507A9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1358" y="713911"/>
            <a:ext cx="11529396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Activité</a:t>
            </a: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1. Correction </a:t>
            </a:r>
          </a:p>
        </p:txBody>
      </p:sp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E8128BC3-A4E2-2B5E-9DAF-189BB3EE0D19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2" name="Image 11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0253F318-BD53-0D24-BA45-80D96DFA0B8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899192" y="524034"/>
            <a:ext cx="1062221" cy="1512774"/>
          </a:xfrm>
          <a:prstGeom prst="rect">
            <a:avLst/>
          </a:prstGeom>
        </p:spPr>
      </p:pic>
      <p:sp>
        <p:nvSpPr>
          <p:cNvPr id="3" name="Ellipse 2">
            <a:extLst>
              <a:ext uri="{FF2B5EF4-FFF2-40B4-BE49-F238E27FC236}">
                <a16:creationId xmlns:a16="http://schemas.microsoft.com/office/drawing/2014/main" id="{00985C55-6585-1CE0-3FAE-8BAF63BD555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301288" y="11258536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EE30A21D-D7C5-A825-2FD1-4A96A126B7A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0233578" y="5457640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51186BD8-0B5D-69A2-009B-842FA6F2EA1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457695" y="5452038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39A68B35-C664-2EB2-4C66-A751426D04A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378344" y="5466326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85EB9A1E-AF05-3BFE-94F9-F1C16E6C330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2143015" y="5457847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3C4A9A2C-6060-2F18-0D1C-CC61600F9D1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939210" y="5452037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346603F7-6956-FF98-A13B-A06A17D1839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03331" y="5457848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E6D24A1F-95C5-3097-D6CD-ADDBC220130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2533953" y="5457849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3180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CB165543-4DBF-48F7-57E1-EF9DF479B2E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F708FCD2-6BF9-00A9-A27E-4ABFC613E86D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3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CF0E36C0-C341-AACC-60EE-1249E2D9C505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6856C84E-5D28-B1BE-B422-DE634E79C01D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E467593A-A3AA-574E-C98C-D79D5650552D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EBF35789-EF5A-9231-2393-AA2D13C5F56A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04888450-80DC-3049-7195-02CD36824DB4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9" name="TextBox 9"/>
          <p:cNvSpPr txBox="1"/>
          <p:nvPr>
            <p:custDataLst>
              <p:tags r:id="rId2"/>
            </p:custDataLst>
          </p:nvPr>
        </p:nvSpPr>
        <p:spPr>
          <a:xfrm>
            <a:off x="3097817" y="5585909"/>
            <a:ext cx="7520366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didactique</a:t>
            </a:r>
          </a:p>
        </p:txBody>
      </p:sp>
      <p:sp>
        <p:nvSpPr>
          <p:cNvPr id="2" name="TextBox 9">
            <a:extLst>
              <a:ext uri="{FF2B5EF4-FFF2-40B4-BE49-F238E27FC236}">
                <a16:creationId xmlns:a16="http://schemas.microsoft.com/office/drawing/2014/main" id="{EFB9B008-41AC-BDC5-4B91-5A497B148B4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00100" y="1407111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techniqu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15D381-18F3-43EC-F8E3-6D366476685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2204900" y="2644612"/>
            <a:ext cx="1912502" cy="1668047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79441BD0-3475-3561-9867-7AA9199CD64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11857" y="4394611"/>
            <a:ext cx="2504181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5AF469B-2419-1460-4D0E-2A3F112415E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394902" y="4393589"/>
            <a:ext cx="142500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C + PPT 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3544874-45A9-6686-34C5-F066052CB44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612942" y="4407713"/>
            <a:ext cx="2269574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2E08D40C-2D68-A73A-2381-029481DAF74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027753" y="4446212"/>
            <a:ext cx="1343701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ointeur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31C257C-687C-6F5D-9E7D-C97F5E15A1E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07662" y="2170848"/>
            <a:ext cx="2232162" cy="2229782"/>
          </a:xfrm>
          <a:prstGeom prst="rect">
            <a:avLst/>
          </a:prstGeom>
        </p:spPr>
      </p:pic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CC74D983-3D6D-C529-D40A-5A387E869EC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683290" y="4374481"/>
            <a:ext cx="3254772" cy="549254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CDA954E7-6A2C-C5AF-3AE0-19B26D8976E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976816" y="4400630"/>
            <a:ext cx="2582566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jection ajustée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E53E6545-78B9-1C0F-4AE2-7DEF0DA141E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8730084" y="2895119"/>
            <a:ext cx="3160415" cy="992903"/>
          </a:xfrm>
          <a:prstGeom prst="rect">
            <a:avLst/>
          </a:prstGeom>
        </p:spPr>
      </p:pic>
      <p:grpSp>
        <p:nvGrpSpPr>
          <p:cNvPr id="28" name="Groupe 27">
            <a:extLst>
              <a:ext uri="{FF2B5EF4-FFF2-40B4-BE49-F238E27FC236}">
                <a16:creationId xmlns:a16="http://schemas.microsoft.com/office/drawing/2014/main" id="{9D132A3B-F0F2-35FE-99DC-A96843AFCA2E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4508617" y="8682834"/>
            <a:ext cx="1779566" cy="538610"/>
            <a:chOff x="5802255" y="5807067"/>
            <a:chExt cx="1186377" cy="359073"/>
          </a:xfrm>
        </p:grpSpPr>
        <p:sp>
          <p:nvSpPr>
            <p:cNvPr id="29" name="Rectangle : coins arrondis 28">
              <a:extLst>
                <a:ext uri="{FF2B5EF4-FFF2-40B4-BE49-F238E27FC236}">
                  <a16:creationId xmlns:a16="http://schemas.microsoft.com/office/drawing/2014/main" id="{C804A669-72C6-3FA1-5791-E7CB5CA77B20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4BFB723B-1198-9769-D313-3CDD4CA76B05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Livret  </a:t>
              </a:r>
            </a:p>
          </p:txBody>
        </p:sp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5753C2A9-3189-5FAE-322D-3B6DC0946D1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781755" y="6506980"/>
            <a:ext cx="1360298" cy="1942484"/>
          </a:xfrm>
          <a:prstGeom prst="rect">
            <a:avLst/>
          </a:prstGeom>
        </p:spPr>
      </p:pic>
      <p:sp>
        <p:nvSpPr>
          <p:cNvPr id="36" name="ZoneTexte 35">
            <a:extLst>
              <a:ext uri="{FF2B5EF4-FFF2-40B4-BE49-F238E27FC236}">
                <a16:creationId xmlns:a16="http://schemas.microsoft.com/office/drawing/2014/main" id="{D3E0DBCB-E98C-6943-0AAE-117B0145F952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256C08F-FE2D-887C-5E62-41F4AC8B3721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00030" y="6777206"/>
            <a:ext cx="1789002" cy="1383142"/>
          </a:xfrm>
          <a:prstGeom prst="rect">
            <a:avLst/>
          </a:prstGeom>
        </p:spPr>
      </p:pic>
      <p:grpSp>
        <p:nvGrpSpPr>
          <p:cNvPr id="20" name="Groupe 19">
            <a:extLst>
              <a:ext uri="{FF2B5EF4-FFF2-40B4-BE49-F238E27FC236}">
                <a16:creationId xmlns:a16="http://schemas.microsoft.com/office/drawing/2014/main" id="{7E9C0502-A7A0-8331-FC77-BD2C8A83A92A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7485754" y="8644972"/>
            <a:ext cx="1779566" cy="538610"/>
            <a:chOff x="5802255" y="5807067"/>
            <a:chExt cx="1186377" cy="359073"/>
          </a:xfrm>
        </p:grpSpPr>
        <p:sp>
          <p:nvSpPr>
            <p:cNvPr id="21" name="Rectangle : coins arrondis 20">
              <a:extLst>
                <a:ext uri="{FF2B5EF4-FFF2-40B4-BE49-F238E27FC236}">
                  <a16:creationId xmlns:a16="http://schemas.microsoft.com/office/drawing/2014/main" id="{C0574431-818E-FFD3-517F-8DDEF3199CC3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D7CDBCFE-A308-E8B1-B716-E2FC5EEA178C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Ardois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3439623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EBDC37-71E1-7F72-4D3C-3174FC5136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29EA3AEA-2ED7-A95E-5FE8-72E629332AC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Freeform 8">
            <a:extLst>
              <a:ext uri="{FF2B5EF4-FFF2-40B4-BE49-F238E27FC236}">
                <a16:creationId xmlns:a16="http://schemas.microsoft.com/office/drawing/2014/main" id="{3BBCAEC4-BC6B-6723-1670-1ED90A125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56657" y="681459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6079A69-FEB1-D996-29F1-1A22AE63C88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10159" y="584599"/>
            <a:ext cx="11529396" cy="88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Activité</a:t>
            </a: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2 : j’entoure </a:t>
            </a: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p - P</a:t>
            </a: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comme dans l’exemple.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Je vais circuler entre les rangs pour vous aider. 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940FCCD-6650-521D-38AC-A9EF75670D8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B2586B94-C4DE-530B-BC66-A050CF8278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0788" y="4090369"/>
            <a:ext cx="12734424" cy="2134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3615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63FE4F-ABD9-C43F-7A89-4704AC056C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360B6F6D-68E5-5C97-96FC-AF26BCE201D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0788" y="4090369"/>
            <a:ext cx="12734424" cy="2134834"/>
          </a:xfrm>
          <a:prstGeom prst="rect">
            <a:avLst/>
          </a:prstGeom>
        </p:spPr>
      </p:pic>
      <p:sp>
        <p:nvSpPr>
          <p:cNvPr id="16" name="Freeform 8">
            <a:extLst>
              <a:ext uri="{FF2B5EF4-FFF2-40B4-BE49-F238E27FC236}">
                <a16:creationId xmlns:a16="http://schemas.microsoft.com/office/drawing/2014/main" id="{B7380F05-878C-92F3-8CB6-101BBDDE464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8662" y="870697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7F9D21E-9DBF-019B-CDB6-305DDF979D0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1358" y="757453"/>
            <a:ext cx="11529396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Activité</a:t>
            </a: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2. Correction </a:t>
            </a: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67E10724-8BBE-AA6D-DC15-82BE8236B61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1" name="Image 10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5058332C-6339-8652-D127-269B5E28686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899192" y="524034"/>
            <a:ext cx="1062221" cy="1512774"/>
          </a:xfrm>
          <a:prstGeom prst="rect">
            <a:avLst/>
          </a:prstGeom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D25A38AB-B9C4-2727-0152-E1F6BC33AF2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775963" y="5457834"/>
            <a:ext cx="330897" cy="69259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E9BD4574-684A-937D-F36B-92D7FC35B4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705198" y="5457834"/>
            <a:ext cx="330897" cy="69259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BEFF4B4-8F12-98D8-57DC-487DE012F97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1440407" y="5457834"/>
            <a:ext cx="330897" cy="69259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146682EC-B0E4-7FF0-99D0-C4B852ED29B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583139" y="5457834"/>
            <a:ext cx="330897" cy="69259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2C343338-D4E1-4472-978E-37A0D77B6A2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790382" y="5457834"/>
            <a:ext cx="330897" cy="69259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809725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64D752-8453-C2CF-94EA-E47DCCB12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679BB8A7-A8F0-C72C-0F7A-76BC35C7697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8662" y="759124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0648204-2E01-4610-46B1-73655CB31AC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1357" y="610499"/>
            <a:ext cx="1194745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Activité</a:t>
            </a: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3. Je nomme l’image et je l’entoure quand j’entends « p »,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comme dans l’exemple. 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8BA41FD5-B504-0F14-25FC-9751F4F3F2E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06861EFA-527A-DB69-ECB9-1B11FCAA5F2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94283C4A-B0BC-EDCB-0E11-0E6191C5DD7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9054" y="3918556"/>
            <a:ext cx="11777891" cy="2936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61217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809C84-B759-C8ED-587C-932D3D7C4C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32961389-4064-806A-9270-70E24BE097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9054" y="3918556"/>
            <a:ext cx="11777891" cy="2936683"/>
          </a:xfrm>
          <a:prstGeom prst="rect">
            <a:avLst/>
          </a:prstGeom>
        </p:spPr>
      </p:pic>
      <p:sp>
        <p:nvSpPr>
          <p:cNvPr id="16" name="Freeform 8">
            <a:extLst>
              <a:ext uri="{FF2B5EF4-FFF2-40B4-BE49-F238E27FC236}">
                <a16:creationId xmlns:a16="http://schemas.microsoft.com/office/drawing/2014/main" id="{C235415D-F79D-9D71-F6F5-72D851B8850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85824" y="856082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643ABFD6-3F09-8E56-56D4-BB4D448E999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68519" y="764609"/>
            <a:ext cx="11947455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Activité</a:t>
            </a: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3. Correction</a:t>
            </a:r>
          </a:p>
        </p:txBody>
      </p:sp>
      <p:pic>
        <p:nvPicPr>
          <p:cNvPr id="11" name="Image 10" descr="Une image contenant meubles, chaise, illustration, table&#10;&#10;Description générée automatiquement">
            <a:extLst>
              <a:ext uri="{FF2B5EF4-FFF2-40B4-BE49-F238E27FC236}">
                <a16:creationId xmlns:a16="http://schemas.microsoft.com/office/drawing/2014/main" id="{2D237194-5949-C0D6-C200-43C958112A95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00883" y="764609"/>
            <a:ext cx="1411357" cy="1008112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F00ACE65-0CBC-5286-0E96-A8A46BBA787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5" name="Ellipse 4">
            <a:extLst>
              <a:ext uri="{FF2B5EF4-FFF2-40B4-BE49-F238E27FC236}">
                <a16:creationId xmlns:a16="http://schemas.microsoft.com/office/drawing/2014/main" id="{45BE25DC-7C8C-8FC1-F8B1-207E8B5891B0}"/>
              </a:ext>
            </a:extLst>
          </p:cNvPr>
          <p:cNvSpPr/>
          <p:nvPr/>
        </p:nvSpPr>
        <p:spPr>
          <a:xfrm>
            <a:off x="3729037" y="4929185"/>
            <a:ext cx="1971675" cy="1883189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E2B89C37-A12D-3963-225C-69A266236447}"/>
              </a:ext>
            </a:extLst>
          </p:cNvPr>
          <p:cNvSpPr/>
          <p:nvPr/>
        </p:nvSpPr>
        <p:spPr>
          <a:xfrm>
            <a:off x="5843585" y="4972048"/>
            <a:ext cx="2728914" cy="1883189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2C3E2D13-A0C0-B597-4B3F-3112DA046F8E}"/>
              </a:ext>
            </a:extLst>
          </p:cNvPr>
          <p:cNvSpPr/>
          <p:nvPr/>
        </p:nvSpPr>
        <p:spPr>
          <a:xfrm>
            <a:off x="11258547" y="4972049"/>
            <a:ext cx="1700897" cy="1840326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8005425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0B2F8E-8E4B-B38D-6EC6-157DBEC6AB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79DA564-4137-0B35-B63C-8F406A7ED7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6949B5E2-9DAF-EBAC-1584-E8498FE5713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AD6A8CE-237D-E11D-FB38-6BE34B3E0835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EE41AF00-29B6-0559-7392-CBB24DC9BCAE}"/>
                </a:ext>
              </a:extLst>
            </p:cNvPr>
            <p:cNvGrpSpPr/>
            <p:nvPr/>
          </p:nvGrpSpPr>
          <p:grpSpPr>
            <a:xfrm>
              <a:off x="228600" y="259752"/>
              <a:ext cx="8686800" cy="6338496"/>
              <a:chOff x="183903" y="177800"/>
              <a:chExt cx="8776195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FD85179-174A-845C-7CFE-54051F108E84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12C9BBAC-CE86-4C53-77DA-E5814234D2A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16610" cy="810309"/>
                <a:chOff x="195880" y="180292"/>
                <a:chExt cx="8719520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8EE3136-876C-FF1D-9374-917F6058570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19520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E779AC7-DF84-D22B-4141-20259CB8CD57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867910BF-C541-2939-C8A2-4188E783FE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63011" y="67243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A48166C-A99A-AD99-DFDD-88B1259120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24602" y="548413"/>
            <a:ext cx="9776774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moment de l’étoile. </a:t>
            </a:r>
          </a:p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gagnant de l’étoile est : [nom de l’élève]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02DA9B2-0104-78F5-925E-F3EFC6122AD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646" y="3462101"/>
            <a:ext cx="8007737" cy="6005802"/>
          </a:xfrm>
          <a:prstGeom prst="rect">
            <a:avLst/>
          </a:prstGeom>
        </p:spPr>
      </p:pic>
      <p:pic>
        <p:nvPicPr>
          <p:cNvPr id="12" name="goodresult-82807">
            <a:hlinkClick r:id="" action="ppaction://media"/>
            <a:extLst>
              <a:ext uri="{FF2B5EF4-FFF2-40B4-BE49-F238E27FC236}">
                <a16:creationId xmlns:a16="http://schemas.microsoft.com/office/drawing/2014/main" id="{00BACA63-FA03-9C5C-8E5A-BE3B170E69F3}"/>
              </a:ext>
            </a:extLst>
          </p:cNvPr>
          <p:cNvPicPr>
            <a:picLocks noChangeAspect="1"/>
          </p:cNvPicPr>
          <p:nvPr>
            <a:audioFile r:link="rId7"/>
            <p:custDataLst>
              <p:tags r:id="rId8"/>
            </p:custDataLst>
            <p:extLst>
              <p:ext uri="{DAA4B4D4-6D71-4841-9C94-3DE7FCFB9230}">
                <p14:media xmlns:p14="http://schemas.microsoft.com/office/powerpoint/2010/main" r:embed="rId6"/>
              </p:ext>
            </p:extLst>
          </p:nvPr>
        </p:nvPicPr>
        <p:blipFill>
          <a:blip r:embed="rId18"/>
          <a:stretch>
            <a:fillRect/>
          </a:stretch>
        </p:blipFill>
        <p:spPr>
          <a:xfrm>
            <a:off x="11627789" y="676802"/>
            <a:ext cx="731045" cy="73104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6ACF6A0C-1D26-EB93-1786-0291DD2083D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401711" y="2584939"/>
            <a:ext cx="47820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ment de l’étoile</a:t>
            </a:r>
          </a:p>
        </p:txBody>
      </p:sp>
    </p:spTree>
    <p:extLst>
      <p:ext uri="{BB962C8B-B14F-4D97-AF65-F5344CB8AC3E}">
        <p14:creationId xmlns:p14="http://schemas.microsoft.com/office/powerpoint/2010/main" val="2698358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504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9B8FA-863E-0A82-E69A-F5094FF52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B55B0195-4F66-E8A5-F293-11C0A390DC6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AE2A5C97-6BB8-D6D8-C67A-601C6631652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8D6024E-998E-FB4A-9827-13921424A66F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7B5626B3-8F11-1A4C-1C5A-C28AD40230C8}"/>
                </a:ext>
              </a:extLst>
            </p:cNvPr>
            <p:cNvGrpSpPr/>
            <p:nvPr/>
          </p:nvGrpSpPr>
          <p:grpSpPr>
            <a:xfrm>
              <a:off x="228600" y="259752"/>
              <a:ext cx="8686800" cy="6338496"/>
              <a:chOff x="183903" y="177800"/>
              <a:chExt cx="8776195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63E1DD92-4DB6-E0AA-412D-880EF865E549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24834BD-DE93-3723-5883-A79737C09FD1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16610" cy="810309"/>
                <a:chOff x="195880" y="180292"/>
                <a:chExt cx="8719520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128C95BA-718C-F15D-88E2-7F89511330A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19520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AAEA53E-4E9D-CE10-2E0C-E3F71C468384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4DB08214-4D5B-0B77-354D-1EB3C43212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79034" y="8543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0C40AA9-C224-10BA-2578-435199DE8B5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91428" y="755605"/>
            <a:ext cx="121816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peut me dire pourquoi [prénom] a obtenu l’étoile ? </a:t>
            </a:r>
          </a:p>
        </p:txBody>
      </p:sp>
      <p:pic>
        <p:nvPicPr>
          <p:cNvPr id="5" name="Image 4" descr="Une image contenant dessin humoristique, dessin, illustration, Dessin animé&#10;&#10;Description générée automatiquement">
            <a:extLst>
              <a:ext uri="{FF2B5EF4-FFF2-40B4-BE49-F238E27FC236}">
                <a16:creationId xmlns:a16="http://schemas.microsoft.com/office/drawing/2014/main" id="{2965A4B0-67DD-88DB-9DE5-8E7CA5AD689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26" r="50000" b="19885"/>
          <a:stretch/>
        </p:blipFill>
        <p:spPr>
          <a:xfrm>
            <a:off x="4954556" y="2048287"/>
            <a:ext cx="4387476" cy="3824222"/>
          </a:xfrm>
          <a:prstGeom prst="rect">
            <a:avLst/>
          </a:prstGeom>
        </p:spPr>
      </p:pic>
      <p:pic>
        <p:nvPicPr>
          <p:cNvPr id="6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167A14FC-01BC-6364-3F1D-81A4B18CB16A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0164560" y="3186112"/>
            <a:ext cx="1666068" cy="2063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656EF663-2508-E0E8-4B29-3BDE8F510E5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634" y="2674828"/>
            <a:ext cx="2390028" cy="2714732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5D338E8-2E62-4CCD-ADCB-16E5C4451C5B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3040"/>
          <a:stretch/>
        </p:blipFill>
        <p:spPr>
          <a:xfrm>
            <a:off x="907633" y="5208703"/>
            <a:ext cx="11641322" cy="85304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7556267-D5D0-9C5E-BFC6-0B9E11A120E9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5151195" y="6349561"/>
            <a:ext cx="3042222" cy="293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32731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5A159-DB48-9BA9-C5B0-5E337AAB46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42C1FBB-1CD9-2106-0A0B-D4CE048292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56428922-DA23-7D63-9667-947520F87F7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75BF59-3F8D-9B5C-D1ED-F735B20CA70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F508E3EA-9EE0-5287-329A-9D0072439D0C}"/>
                </a:ext>
              </a:extLst>
            </p:cNvPr>
            <p:cNvGrpSpPr/>
            <p:nvPr/>
          </p:nvGrpSpPr>
          <p:grpSpPr>
            <a:xfrm>
              <a:off x="228600" y="259752"/>
              <a:ext cx="8686800" cy="6338496"/>
              <a:chOff x="183903" y="177800"/>
              <a:chExt cx="8776195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F5E4F832-9B09-AF3F-2863-C16F1D53307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E515C95D-8C64-C416-29AB-6970CCFB983E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45552" cy="746968"/>
                <a:chOff x="195880" y="180292"/>
                <a:chExt cx="8748472" cy="746968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56F2E216-AD23-A509-095D-B8ACC75615E5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48472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D427134C-F818-8C64-86C7-D9873BFEFDF9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47627" cy="189573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19" name="Freeform 8">
            <a:extLst>
              <a:ext uri="{FF2B5EF4-FFF2-40B4-BE49-F238E27FC236}">
                <a16:creationId xmlns:a16="http://schemas.microsoft.com/office/drawing/2014/main" id="{6DC4A37A-0359-4A44-D3EE-8AF3AFFA9F2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62D5AFA-9333-F74B-ECE0-BCDA41DD36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3" y="736196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La séance d’aujourd’hui est terminée. À demain !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6F8A514-48C9-75D9-E3BC-64145D5D657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62600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>
          <a:extLst>
            <a:ext uri="{FF2B5EF4-FFF2-40B4-BE49-F238E27FC236}">
              <a16:creationId xmlns:a16="http://schemas.microsoft.com/office/drawing/2014/main" id="{4434A310-1ACB-7B37-A2E4-A787BD127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F884051-55D2-3C83-2FA7-6431BA98E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86" y="1287661"/>
          <a:ext cx="1787" cy="1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884051-55D2-3C83-2FA7-6431BA98E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86" y="1287661"/>
                        <a:ext cx="1787" cy="1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Google Shape;71;p16">
            <a:extLst>
              <a:ext uri="{FF2B5EF4-FFF2-40B4-BE49-F238E27FC236}">
                <a16:creationId xmlns:a16="http://schemas.microsoft.com/office/drawing/2014/main" id="{A378AFD9-7C33-AC53-B240-DF15D58DA6DE}"/>
              </a:ext>
            </a:extLst>
          </p:cNvPr>
          <p:cNvSpPr/>
          <p:nvPr/>
        </p:nvSpPr>
        <p:spPr>
          <a:xfrm>
            <a:off x="6813727" y="8681309"/>
            <a:ext cx="96490" cy="1110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02862" tIns="51413" rIns="102862" bIns="51413" anchor="ctr" anchorCtr="0">
            <a:no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315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Arial"/>
              <a:cs typeface="Traditional Arabic" panose="02020603050405020304" pitchFamily="18" charset="-78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5B0B7A3-933D-E89F-0AFB-610F9586A0A5}"/>
              </a:ext>
            </a:extLst>
          </p:cNvPr>
          <p:cNvSpPr/>
          <p:nvPr/>
        </p:nvSpPr>
        <p:spPr>
          <a:xfrm>
            <a:off x="136334" y="8529247"/>
            <a:ext cx="3148070" cy="415198"/>
          </a:xfrm>
          <a:prstGeom prst="rect">
            <a:avLst/>
          </a:prstGeom>
          <a:solidFill>
            <a:srgbClr val="FCFDF2"/>
          </a:solidFill>
          <a:ln>
            <a:solidFill>
              <a:srgbClr val="FCF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8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174FDD-9916-4F25-C9A7-7C414CF7576F}"/>
              </a:ext>
            </a:extLst>
          </p:cNvPr>
          <p:cNvSpPr txBox="1"/>
          <p:nvPr/>
        </p:nvSpPr>
        <p:spPr>
          <a:xfrm>
            <a:off x="136334" y="1342556"/>
            <a:ext cx="12625106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</a:t>
            </a:r>
            <a:r>
              <a:rPr kumimoji="0" lang="ar-MA" sz="4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المرجو ملء الاستبيان حول الحصص الدراسية المقدمة في إطار التدريس الصريح</a:t>
            </a:r>
            <a:endParaRPr kumimoji="0" lang="en-GB" sz="4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  <a:p>
            <a:pPr marL="0" marR="0" lvl="0" indent="0" algn="ct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(استمارة موجهة للأساتذة)</a:t>
            </a:r>
            <a:endParaRPr kumimoji="0" lang="fr-FR" sz="4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AACC59-15BA-D1C2-C94B-7EE31EA88D6F}"/>
              </a:ext>
            </a:extLst>
          </p:cNvPr>
          <p:cNvSpPr txBox="1"/>
          <p:nvPr/>
        </p:nvSpPr>
        <p:spPr>
          <a:xfrm>
            <a:off x="5409085" y="4814564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الولوج عبر 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  <a:hlinkClick r:id="rId6"/>
              </a:rPr>
              <a:t>الرابط أسفله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: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019654-2264-8A09-83FF-AEC6AFD5A871}"/>
              </a:ext>
            </a:extLst>
          </p:cNvPr>
          <p:cNvSpPr txBox="1"/>
          <p:nvPr/>
        </p:nvSpPr>
        <p:spPr>
          <a:xfrm>
            <a:off x="-912437" y="3179076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مسح رمز الاستجابة السريعة </a:t>
            </a: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(</a:t>
            </a:r>
            <a:r>
              <a:rPr kumimoji="0" lang="en-GB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Qr</a:t>
            </a: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code)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84840F-AB6A-304A-DD8A-58BCB8681D23}"/>
              </a:ext>
            </a:extLst>
          </p:cNvPr>
          <p:cNvSpPr txBox="1"/>
          <p:nvPr/>
        </p:nvSpPr>
        <p:spPr>
          <a:xfrm>
            <a:off x="5808658" y="3248600"/>
            <a:ext cx="15145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أو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DC63DB-90E7-27C4-6516-CED8FFAC0E2C}"/>
              </a:ext>
            </a:extLst>
          </p:cNvPr>
          <p:cNvSpPr txBox="1"/>
          <p:nvPr/>
        </p:nvSpPr>
        <p:spPr>
          <a:xfrm>
            <a:off x="6672280" y="5930679"/>
            <a:ext cx="733991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8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https://forms.gle/MPZzCzLAsK9AdG8x7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419A47C-151D-1A28-EA5F-3EECEDF796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0540" y="4244656"/>
            <a:ext cx="4547728" cy="454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280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18098-65E3-31C9-CE7D-49857F7476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41B91B76-2A60-DF51-1350-92E0875FBDC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C219C2DB-1D6E-A29D-F77C-09590E1A3393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D43D12F6-0094-868E-4887-AD45CB6FD089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7AC9F87B-A6FC-0F3F-8438-E3DE63D8BB21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DC44881D-FFE1-709C-0B11-CCA9D335342A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6DEF2B2F-E576-DFFD-8399-E50C22FC7DF7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232A479E-7CF0-BB20-7403-63D5CD4EAC07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2" name="TextBox 9">
            <a:extLst>
              <a:ext uri="{FF2B5EF4-FFF2-40B4-BE49-F238E27FC236}">
                <a16:creationId xmlns:a16="http://schemas.microsoft.com/office/drawing/2014/main" id="{1C340341-1BB1-F6E8-6167-449AF8F84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00100" y="1617969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Exemples de projections bien ajustées 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20E6E7F1-8C5D-A744-2451-2C3AAAA8DF2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683F1D80-5E5D-94B9-BC94-826AC18B6C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rcRect t="8226" b="4216"/>
          <a:stretch/>
        </p:blipFill>
        <p:spPr>
          <a:xfrm>
            <a:off x="3404621" y="3061171"/>
            <a:ext cx="6601130" cy="2723317"/>
          </a:xfrm>
          <a:prstGeom prst="roundRect">
            <a:avLst>
              <a:gd name="adj" fmla="val 12597"/>
            </a:avLst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7D9E8320-52FD-BC9F-E33E-E6E63E53978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rcRect t="3047"/>
          <a:stretch/>
        </p:blipFill>
        <p:spPr>
          <a:xfrm>
            <a:off x="3159371" y="6660789"/>
            <a:ext cx="7142603" cy="1917889"/>
          </a:xfrm>
          <a:prstGeom prst="roundRect">
            <a:avLst>
              <a:gd name="adj" fmla="val 13055"/>
            </a:avLst>
          </a:prstGeom>
        </p:spPr>
      </p:pic>
      <p:cxnSp>
        <p:nvCxnSpPr>
          <p:cNvPr id="34" name="Connecteur droit avec flèche 33">
            <a:extLst>
              <a:ext uri="{FF2B5EF4-FFF2-40B4-BE49-F238E27FC236}">
                <a16:creationId xmlns:a16="http://schemas.microsoft.com/office/drawing/2014/main" id="{A0A45337-F82C-CDA1-7832-70798E696A5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4530436" y="6306793"/>
            <a:ext cx="831273" cy="872837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533E49BF-E1DF-DE67-87C6-6B4EA6B194B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4530436" y="2883526"/>
            <a:ext cx="1039091" cy="1050482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740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4D853-9A8B-A09C-2310-C37E1BAF1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1DE7BB3E-6390-1C50-18A4-BCDFD52D11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71520CC2-BAA8-D301-162C-A465799DA8D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-1" y="4165441"/>
            <a:ext cx="13716001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Organisation pédagogique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3B6A7112-7B25-F615-C8CD-747F1AABA0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33373C81-CB0E-8516-83E4-138442C674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78C0463-A237-1630-B010-0DB99E1AECC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12052677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4F410-4BCC-4A6A-8C64-D566F24309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AD7AECF-C1BF-8311-9244-8E3BB4CA504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EFCFD14-1E82-0356-EC79-E7FFE0D2C1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441300"/>
            <a:ext cx="12954000" cy="90579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AA8565BE-8587-EE12-0FDD-11E6991B9488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AA32D00-B2D8-2293-F056-5AE587E26A74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B34FD747-C30E-E0AB-6CD3-9EEE522E0C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6384" y="3134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B319638-CFCF-BEE0-C1A3-DB5071C1CB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211267" y="831689"/>
            <a:ext cx="7238546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pédagogiqu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94B8504D-C843-3262-D2C0-142A1F25F35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5183" y="1586276"/>
            <a:ext cx="12192000" cy="4747350"/>
          </a:xfrm>
          <a:prstGeom prst="roundRect">
            <a:avLst>
              <a:gd name="adj" fmla="val 83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1DD44DDA-8376-1144-5CA4-E9AC843407B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1414" y="1809095"/>
            <a:ext cx="11963400" cy="431181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objectif de l’enseignement du français en 1</a:t>
            </a:r>
            <a:r>
              <a:rPr lang="fr-FR" sz="2400" baseline="30000" noProof="1">
                <a:solidFill>
                  <a:srgbClr val="106585"/>
                </a:solidFill>
                <a:latin typeface="Dosis" pitchFamily="2" charset="0"/>
              </a:rPr>
              <a:t>è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année est d’atteindr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alier 2 en lecture</a:t>
            </a:r>
            <a:r>
              <a:rPr lang="fr-FR" sz="2400" b="1" noProof="1">
                <a:solidFill>
                  <a:srgbClr val="106585"/>
                </a:solidFill>
                <a:latin typeface="Dosis" pitchFamily="2" charset="0"/>
              </a:rPr>
              <a:t>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lire des mots avec des syllabes simples) ainsi qu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niveau A1.1  à l’oral et à l’écrit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capacités élémentaires en compréhension et en production)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année est organisée e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5 périodes </a:t>
            </a:r>
            <a:r>
              <a:rPr lang="fr-FR" sz="2400" noProof="1">
                <a:solidFill>
                  <a:srgbClr val="215968"/>
                </a:solidFill>
                <a:latin typeface="Dosis" pitchFamily="2" charset="0"/>
              </a:rPr>
              <a:t>de 6 semain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cune. Les 5 premières semaines de la période sont consacrées à l’étude d’un thème, tandis que la sixième semaine est réservée au rebrassage et à l’évaluation des apprentissages de la période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emaine comprend une liste de mots d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vocabulai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dialogu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la découverte d’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graphèm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et des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oints de langue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structures syntaxiques, conjugaison etc.).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éance comprend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2 activités principal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et s’ouvre par des rituels. </a:t>
            </a:r>
            <a:endParaRPr lang="fr-FR" sz="2100" noProof="1">
              <a:solidFill>
                <a:prstClr val="black">
                  <a:lumMod val="85000"/>
                  <a:lumOff val="15000"/>
                </a:prstClr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8437462-F7F5-AE53-D834-01EDCFD32DC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831317" y="4821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5FB32DC9-3DD7-DDE8-5057-C00C962270D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686382" y="6703496"/>
            <a:ext cx="12256725" cy="2071133"/>
            <a:chOff x="457588" y="4537445"/>
            <a:chExt cx="8171150" cy="1380755"/>
          </a:xfrm>
        </p:grpSpPr>
        <p:sp>
          <p:nvSpPr>
            <p:cNvPr id="13" name="Rectangle : coins arrondis 12">
              <a:extLst>
                <a:ext uri="{FF2B5EF4-FFF2-40B4-BE49-F238E27FC236}">
                  <a16:creationId xmlns:a16="http://schemas.microsoft.com/office/drawing/2014/main" id="{6449314D-753C-6389-7F12-91793FC4DFA6}"/>
                </a:ext>
              </a:extLst>
            </p:cNvPr>
            <p:cNvSpPr/>
            <p:nvPr/>
          </p:nvSpPr>
          <p:spPr>
            <a:xfrm>
              <a:off x="457588" y="4537445"/>
              <a:ext cx="8160533" cy="1380755"/>
            </a:xfrm>
            <a:prstGeom prst="roundRect">
              <a:avLst/>
            </a:prstGeom>
            <a:solidFill>
              <a:srgbClr val="FFFFCC"/>
            </a:solidFill>
            <a:ln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5">
                <a:defRPr/>
              </a:pPr>
              <a:endParaRPr lang="fr-FR" sz="18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TextBox 10">
              <a:extLst>
                <a:ext uri="{FF2B5EF4-FFF2-40B4-BE49-F238E27FC236}">
                  <a16:creationId xmlns:a16="http://schemas.microsoft.com/office/drawing/2014/main" id="{B20CFC84-9C14-5078-FD01-23AF13E02E32}"/>
                </a:ext>
              </a:extLst>
            </p:cNvPr>
            <p:cNvSpPr txBox="1"/>
            <p:nvPr/>
          </p:nvSpPr>
          <p:spPr>
            <a:xfrm>
              <a:off x="537925" y="4699000"/>
              <a:ext cx="4034075" cy="1058446"/>
            </a:xfrm>
            <a:prstGeom prst="round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1 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Je me présent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2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class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3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famille et ma maison</a:t>
              </a:r>
              <a:endParaRPr lang="fr-FR" sz="2100" b="1" dirty="0">
                <a:solidFill>
                  <a:srgbClr val="106585"/>
                </a:solidFill>
                <a:latin typeface="Dosis" pitchFamily="2" charset="0"/>
              </a:endParaRP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47CEF19C-EABA-3900-4506-32DB619CEF11}"/>
                </a:ext>
              </a:extLst>
            </p:cNvPr>
            <p:cNvSpPr txBox="1"/>
            <p:nvPr/>
          </p:nvSpPr>
          <p:spPr>
            <a:xfrm>
              <a:off x="4340662" y="4710249"/>
              <a:ext cx="4288076" cy="6591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4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on corps et mon alimentation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5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journé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71496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3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6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7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8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9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0000"/>
        </a:solidFill>
        <a:ln>
          <a:solidFill>
            <a:srgbClr val="C00000"/>
          </a:solidFill>
        </a:ln>
      </a:spPr>
      <a:bodyPr rtlCol="0" anchor="ctr"/>
      <a:lstStyle>
        <a:defPPr algn="ctr">
          <a:defRPr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26</TotalTime>
  <Words>1836</Words>
  <PresentationFormat>Personnalisé</PresentationFormat>
  <Paragraphs>360</Paragraphs>
  <Slides>67</Slides>
  <Notes>1</Notes>
  <HiddenSlides>0</HiddenSlides>
  <MMClips>4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7</vt:i4>
      </vt:variant>
    </vt:vector>
  </HeadingPairs>
  <TitlesOfParts>
    <vt:vector size="85" baseType="lpstr">
      <vt:lpstr>Arial</vt:lpstr>
      <vt:lpstr>Carelia</vt:lpstr>
      <vt:lpstr>Dosis Bold</vt:lpstr>
      <vt:lpstr>Cambria</vt:lpstr>
      <vt:lpstr>KG Primary Penmanship 2</vt:lpstr>
      <vt:lpstr>Helvetica Neue Light</vt:lpstr>
      <vt:lpstr>Dosis Medium</vt:lpstr>
      <vt:lpstr>Calibri</vt:lpstr>
      <vt:lpstr>Traditional Arabic</vt:lpstr>
      <vt:lpstr>Calibri </vt:lpstr>
      <vt:lpstr>Montserrat</vt:lpstr>
      <vt:lpstr>Dosis</vt:lpstr>
      <vt:lpstr>KG Primary Penmanship Alt</vt:lpstr>
      <vt:lpstr>1_Office Theme</vt:lpstr>
      <vt:lpstr>Office Theme</vt:lpstr>
      <vt:lpstr>2_Office Theme</vt:lpstr>
      <vt:lpstr>2_Simple Light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3-09-22T04:26:48Z</dcterms:created>
  <dcterms:modified xsi:type="dcterms:W3CDTF">2025-07-20T08:29:39Z</dcterms:modified>
</cp:coreProperties>
</file>